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handoutMasters/handoutMaster1.xml" ContentType="application/vnd.openxmlformats-officedocument.presentationml.handoutMaster+xml"/>
  <Override PartName="/ppt/media/image106.svg" ContentType="image/svg+xml"/>
  <Override PartName="/ppt/media/image108.svg" ContentType="image/svg+xml"/>
  <Override PartName="/ppt/media/image110.svg" ContentType="image/svg+xml"/>
  <Override PartName="/ppt/media/image112.svg" ContentType="image/svg+xml"/>
  <Override PartName="/ppt/media/image140.svg" ContentType="image/svg+xml"/>
  <Override PartName="/ppt/media/image142.svg" ContentType="image/svg+xml"/>
  <Override PartName="/ppt/media/image145.svg" ContentType="image/svg+xml"/>
  <Override PartName="/ppt/media/image147.svg" ContentType="image/svg+xml"/>
  <Override PartName="/ppt/media/image186.svg" ContentType="image/svg+xml"/>
  <Override PartName="/ppt/media/image77.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6"/>
  </p:notesMasterIdLst>
  <p:handoutMasterIdLst>
    <p:handoutMasterId r:id="rId57"/>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2147471376" r:id="rId17"/>
    <p:sldId id="2147471362" r:id="rId18"/>
    <p:sldId id="3785" r:id="rId19"/>
    <p:sldId id="2147471377" r:id="rId20"/>
    <p:sldId id="3977" r:id="rId21"/>
    <p:sldId id="2147471400" r:id="rId22"/>
    <p:sldId id="2147471380" r:id="rId23"/>
    <p:sldId id="2147471366" r:id="rId24"/>
    <p:sldId id="3762" r:id="rId25"/>
    <p:sldId id="3637" r:id="rId26"/>
    <p:sldId id="2147471401" r:id="rId27"/>
    <p:sldId id="3639" r:id="rId28"/>
    <p:sldId id="2147471399" r:id="rId29"/>
    <p:sldId id="2147471388" r:id="rId30"/>
    <p:sldId id="2147471389" r:id="rId31"/>
    <p:sldId id="2147471381" r:id="rId32"/>
    <p:sldId id="3662" r:id="rId33"/>
    <p:sldId id="3658" r:id="rId34"/>
    <p:sldId id="3659" r:id="rId35"/>
    <p:sldId id="3660" r:id="rId36"/>
    <p:sldId id="3661" r:id="rId37"/>
    <p:sldId id="2147471354" r:id="rId38"/>
    <p:sldId id="2147471355" r:id="rId39"/>
    <p:sldId id="2147471356" r:id="rId40"/>
    <p:sldId id="2147471357" r:id="rId41"/>
    <p:sldId id="3488" r:id="rId42"/>
    <p:sldId id="2147471352" r:id="rId43"/>
    <p:sldId id="3670" r:id="rId44"/>
    <p:sldId id="2147471353" r:id="rId45"/>
    <p:sldId id="2147471367" r:id="rId46"/>
    <p:sldId id="2147471369" r:id="rId47"/>
    <p:sldId id="2147471370" r:id="rId48"/>
    <p:sldId id="3545" r:id="rId49"/>
    <p:sldId id="2147471371" r:id="rId50"/>
    <p:sldId id="2147471372" r:id="rId51"/>
    <p:sldId id="3986" r:id="rId52"/>
    <p:sldId id="3664" r:id="rId53"/>
    <p:sldId id="3665" r:id="rId54"/>
    <p:sldId id="3816"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B76A"/>
    <a:srgbClr val="9B8357"/>
    <a:srgbClr val="906666"/>
    <a:srgbClr val="6D73AB"/>
    <a:srgbClr val="637052"/>
    <a:srgbClr val="94A088"/>
    <a:srgbClr val="FFFFFF"/>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C6553F-A922-43DD-A8C9-829775174CF8}" v="15" dt="2025-02-09T12:14:24.5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4" d="100"/>
          <a:sy n="64" d="100"/>
        </p:scale>
        <p:origin x="954" y="7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slide" Target="slides/slide45.xml"/><Relationship Id="rId52" Type="http://schemas.openxmlformats.org/officeDocument/2006/relationships/slide" Target="slides/slide46.xml"/><Relationship Id="rId53" Type="http://schemas.openxmlformats.org/officeDocument/2006/relationships/slide" Target="slides/slide47.xml"/><Relationship Id="rId54" Type="http://schemas.openxmlformats.org/officeDocument/2006/relationships/slide" Target="slides/slide48.xml"/><Relationship Id="rId55" Type="http://schemas.openxmlformats.org/officeDocument/2006/relationships/slide" Target="slides/slide49.xml"/><Relationship Id="rId56" Type="http://schemas.openxmlformats.org/officeDocument/2006/relationships/notesMaster" Target="notesMasters/notesMaster1.xml"/><Relationship Id="rId57" Type="http://schemas.openxmlformats.org/officeDocument/2006/relationships/handoutMaster" Target="handoutMasters/handoutMaster1.xml"/><Relationship Id="rId58" Type="http://schemas.openxmlformats.org/officeDocument/2006/relationships/commentAuthors" Target="commentAuthors.xml"/><Relationship Id="rId59" Type="http://schemas.openxmlformats.org/officeDocument/2006/relationships/presProps" Target="presProps.xml"/><Relationship Id="rId6" Type="http://schemas.openxmlformats.org/officeDocument/2006/relationships/slideMaster" Target="slideMasters/slideMaster3.xml"/><Relationship Id="rId60" Type="http://schemas.openxmlformats.org/officeDocument/2006/relationships/viewProps" Target="viewProps.xml"/><Relationship Id="rId61" Type="http://schemas.openxmlformats.org/officeDocument/2006/relationships/theme" Target="theme/theme1.xml"/><Relationship Id="rId62" Type="http://schemas.openxmlformats.org/officeDocument/2006/relationships/tableStyles" Target="tableStyles.xml"/><Relationship Id="rId63" Type="http://schemas.microsoft.com/office/2016/11/relationships/changesInfo" Target="changesInfos/changesInfo1.xml"/><Relationship Id="rId64" Type="http://schemas.microsoft.com/office/2015/10/relationships/revisionInfo" Target="revisionInfo.xml"/><Relationship Id="rId65"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bdul Rafay" userId="f0baa150-18fb-4df7-9589-7c96eafe2dfb" providerId="ADAL" clId="{85C6553F-A922-43DD-A8C9-829775174CF8}"/>
    <pc:docChg chg="undo custSel modSld sldOrd">
      <pc:chgData name="Abdul Rafay" userId="f0baa150-18fb-4df7-9589-7c96eafe2dfb" providerId="ADAL" clId="{85C6553F-A922-43DD-A8C9-829775174CF8}" dt="2025-02-10T06:26:39.104" v="336" actId="20577"/>
      <pc:docMkLst>
        <pc:docMk/>
      </pc:docMkLst>
      <pc:sldChg chg="ord">
        <pc:chgData name="Abdul Rafay" userId="f0baa150-18fb-4df7-9589-7c96eafe2dfb" providerId="ADAL" clId="{85C6553F-A922-43DD-A8C9-829775174CF8}" dt="2025-02-09T06:28:28.492" v="41" actId="20578"/>
        <pc:sldMkLst>
          <pc:docMk/>
          <pc:sldMk cId="1768364287" sldId="3488"/>
        </pc:sldMkLst>
      </pc:sldChg>
      <pc:sldChg chg="modSp mod">
        <pc:chgData name="Abdul Rafay" userId="f0baa150-18fb-4df7-9589-7c96eafe2dfb" providerId="ADAL" clId="{85C6553F-A922-43DD-A8C9-829775174CF8}" dt="2025-02-10T06:26:39.104" v="336" actId="20577"/>
        <pc:sldMkLst>
          <pc:docMk/>
          <pc:sldMk cId="1536670552" sldId="3625"/>
        </pc:sldMkLst>
        <pc:graphicFrameChg chg="modGraphic">
          <ac:chgData name="Abdul Rafay" userId="f0baa150-18fb-4df7-9589-7c96eafe2dfb" providerId="ADAL" clId="{85C6553F-A922-43DD-A8C9-829775174CF8}" dt="2025-02-10T06:26:39.104" v="336" actId="20577"/>
          <ac:graphicFrameMkLst>
            <pc:docMk/>
            <pc:sldMk cId="1536670552" sldId="3625"/>
            <ac:graphicFrameMk id="6" creationId="{26A499F3-49DA-CD07-57F0-A6ECE6D32701}"/>
          </ac:graphicFrameMkLst>
        </pc:graphicFrameChg>
      </pc:sldChg>
      <pc:sldChg chg="addSp delSp modSp mod">
        <pc:chgData name="Abdul Rafay" userId="f0baa150-18fb-4df7-9589-7c96eafe2dfb" providerId="ADAL" clId="{85C6553F-A922-43DD-A8C9-829775174CF8}" dt="2025-02-10T06:20:04.603" v="256" actId="478"/>
        <pc:sldMkLst>
          <pc:docMk/>
          <pc:sldMk cId="3027995233" sldId="3665"/>
        </pc:sldMkLst>
        <pc:spChg chg="add del mod">
          <ac:chgData name="Abdul Rafay" userId="f0baa150-18fb-4df7-9589-7c96eafe2dfb" providerId="ADAL" clId="{85C6553F-A922-43DD-A8C9-829775174CF8}" dt="2025-02-10T06:20:04.603" v="256" actId="478"/>
          <ac:spMkLst>
            <pc:docMk/>
            <pc:sldMk cId="3027995233" sldId="3665"/>
            <ac:spMk id="3" creationId="{AC099D2C-F067-8DD1-0DC0-9D3E05511E06}"/>
          </ac:spMkLst>
        </pc:spChg>
        <pc:graphicFrameChg chg="mod modGraphic">
          <ac:chgData name="Abdul Rafay" userId="f0baa150-18fb-4df7-9589-7c96eafe2dfb" providerId="ADAL" clId="{85C6553F-A922-43DD-A8C9-829775174CF8}" dt="2025-02-09T12:25:52.008" v="234" actId="20577"/>
          <ac:graphicFrameMkLst>
            <pc:docMk/>
            <pc:sldMk cId="3027995233" sldId="3665"/>
            <ac:graphicFrameMk id="8" creationId="{00000000-0000-0000-0000-000000000000}"/>
          </ac:graphicFrameMkLst>
        </pc:graphicFrameChg>
      </pc:sldChg>
      <pc:sldChg chg="addSp delSp modSp mod">
        <pc:chgData name="Abdul Rafay" userId="f0baa150-18fb-4df7-9589-7c96eafe2dfb" providerId="ADAL" clId="{85C6553F-A922-43DD-A8C9-829775174CF8}" dt="2025-02-10T05:46:53.422" v="252" actId="20577"/>
        <pc:sldMkLst>
          <pc:docMk/>
          <pc:sldMk cId="3185193840" sldId="2147471352"/>
        </pc:sldMkLst>
        <pc:spChg chg="add del mod">
          <ac:chgData name="Abdul Rafay" userId="f0baa150-18fb-4df7-9589-7c96eafe2dfb" providerId="ADAL" clId="{85C6553F-A922-43DD-A8C9-829775174CF8}" dt="2025-02-09T07:56:26.454" v="94" actId="478"/>
          <ac:spMkLst>
            <pc:docMk/>
            <pc:sldMk cId="3185193840" sldId="2147471352"/>
            <ac:spMk id="5" creationId="{3915A353-280D-8D49-3FA5-352050EE3F3E}"/>
          </ac:spMkLst>
        </pc:spChg>
        <pc:spChg chg="add mod">
          <ac:chgData name="Abdul Rafay" userId="f0baa150-18fb-4df7-9589-7c96eafe2dfb" providerId="ADAL" clId="{85C6553F-A922-43DD-A8C9-829775174CF8}" dt="2025-02-09T07:21:15.241" v="61" actId="20577"/>
          <ac:spMkLst>
            <pc:docMk/>
            <pc:sldMk cId="3185193840" sldId="2147471352"/>
            <ac:spMk id="5" creationId="{5453D5B1-EBBD-5BF1-C855-0BF7A60ADCEE}"/>
          </ac:spMkLst>
        </pc:spChg>
        <pc:spChg chg="add del mod">
          <ac:chgData name="Abdul Rafay" userId="f0baa150-18fb-4df7-9589-7c96eafe2dfb" providerId="ADAL" clId="{85C6553F-A922-43DD-A8C9-829775174CF8}" dt="2025-02-09T07:03:35.234" v="50" actId="478"/>
          <ac:spMkLst>
            <pc:docMk/>
            <pc:sldMk cId="3185193840" sldId="2147471352"/>
            <ac:spMk id="5" creationId="{88A55951-71D1-DF54-3EAA-8CE89FF59213}"/>
          </ac:spMkLst>
        </pc:spChg>
        <pc:graphicFrameChg chg="mod modGraphic">
          <ac:chgData name="Abdul Rafay" userId="f0baa150-18fb-4df7-9589-7c96eafe2dfb" providerId="ADAL" clId="{85C6553F-A922-43DD-A8C9-829775174CF8}" dt="2025-02-10T05:46:53.422" v="252" actId="20577"/>
          <ac:graphicFrameMkLst>
            <pc:docMk/>
            <pc:sldMk cId="3185193840" sldId="2147471352"/>
            <ac:graphicFrameMk id="8" creationId="{E056BF1F-93B3-1A4D-FAE0-570AC02851B2}"/>
          </ac:graphicFrameMkLst>
        </pc:graphicFrameChg>
      </pc:sldChg>
      <pc:sldChg chg="modSp mod">
        <pc:chgData name="Abdul Rafay" userId="f0baa150-18fb-4df7-9589-7c96eafe2dfb" providerId="ADAL" clId="{85C6553F-A922-43DD-A8C9-829775174CF8}" dt="2025-02-10T06:11:33.750" v="255" actId="20577"/>
        <pc:sldMkLst>
          <pc:docMk/>
          <pc:sldMk cId="408115" sldId="2147471353"/>
        </pc:sldMkLst>
        <pc:spChg chg="mod">
          <ac:chgData name="Abdul Rafay" userId="f0baa150-18fb-4df7-9589-7c96eafe2dfb" providerId="ADAL" clId="{85C6553F-A922-43DD-A8C9-829775174CF8}" dt="2025-02-10T06:11:33.750" v="255" actId="20577"/>
          <ac:spMkLst>
            <pc:docMk/>
            <pc:sldMk cId="408115" sldId="2147471353"/>
            <ac:spMk id="4" creationId="{EB6A93C3-CAD2-2D29-82C8-9AFDA6D58608}"/>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47D1C4A-09B7-4F2D-90C2-C09EB042561D}" type="doc">
      <dgm:prSet loTypeId="urn:microsoft.com/office/officeart/2005/8/layout/hProcess9" loCatId="process" qsTypeId="urn:microsoft.com/office/officeart/2005/8/quickstyle/simple1" qsCatId="simple" csTypeId="urn:microsoft.com/office/officeart/2005/8/colors/accent0_1" csCatId="mainScheme" phldr="1"/>
      <dgm:spPr/>
      <dgm:t>
        <a:bodyPr/>
        <a:lstStyle/>
        <a:p>
          <a:endParaRPr lang="en-US"/>
        </a:p>
      </dgm:t>
    </dgm:pt>
    <dgm:pt modelId="{34C9AD63-D560-4BA7-9E42-25F83091204D}">
      <dgm:prSet phldrT="[Text]" custT="1"/>
      <dgm:spPr/>
      <dgm:t>
        <a:bodyPr/>
        <a:lstStyle/>
        <a:p>
          <a:r>
            <a:rPr lang="en-US" sz="1100"/>
            <a:t>Information gathering</a:t>
          </a:r>
        </a:p>
      </dgm:t>
    </dgm:pt>
    <dgm:pt modelId="{9CD66C7D-9617-4B70-B515-BF2523BECB3A}" type="parTrans" cxnId="{C1E7A5DD-C224-4056-981D-090B58536090}">
      <dgm:prSet/>
      <dgm:spPr/>
      <dgm:t>
        <a:bodyPr/>
        <a:lstStyle/>
        <a:p>
          <a:endParaRPr lang="en-US" sz="1200"/>
        </a:p>
      </dgm:t>
    </dgm:pt>
    <dgm:pt modelId="{E7B5EEFC-36AF-4C31-AFCF-B62B27557842}" type="sibTrans" cxnId="{C1E7A5DD-C224-4056-981D-090B58536090}">
      <dgm:prSet/>
      <dgm:spPr/>
      <dgm:t>
        <a:bodyPr/>
        <a:lstStyle/>
        <a:p>
          <a:endParaRPr lang="en-US" sz="1200"/>
        </a:p>
      </dgm:t>
    </dgm:pt>
    <dgm:pt modelId="{97C18325-5ABC-46FE-B574-8A647671E686}">
      <dgm:prSet phldrT="[Text]" custT="1"/>
      <dgm:spPr/>
      <dgm:t>
        <a:bodyPr/>
        <a:lstStyle/>
        <a:p>
          <a:r>
            <a:rPr lang="en-US" sz="1100"/>
            <a:t>Network mapping</a:t>
          </a:r>
        </a:p>
      </dgm:t>
    </dgm:pt>
    <dgm:pt modelId="{CCA86E4C-5487-4E1D-BF32-74BC196C2029}" type="parTrans" cxnId="{B556CC90-B600-4CCE-A324-087FB971CDC7}">
      <dgm:prSet/>
      <dgm:spPr/>
      <dgm:t>
        <a:bodyPr/>
        <a:lstStyle/>
        <a:p>
          <a:endParaRPr lang="en-US" sz="1200"/>
        </a:p>
      </dgm:t>
    </dgm:pt>
    <dgm:pt modelId="{61062686-68AA-42D4-9746-BF34527AE737}" type="sibTrans" cxnId="{B556CC90-B600-4CCE-A324-087FB971CDC7}">
      <dgm:prSet/>
      <dgm:spPr/>
      <dgm:t>
        <a:bodyPr/>
        <a:lstStyle/>
        <a:p>
          <a:endParaRPr lang="en-US" sz="1200"/>
        </a:p>
      </dgm:t>
    </dgm:pt>
    <dgm:pt modelId="{D0B69E13-B15D-4628-95EC-54E64426F9E5}">
      <dgm:prSet phldrT="[Text]" custT="1"/>
      <dgm:spPr/>
      <dgm:t>
        <a:bodyPr/>
        <a:lstStyle/>
        <a:p>
          <a:r>
            <a:rPr lang="en-US" sz="1100"/>
            <a:t>Penetration</a:t>
          </a:r>
        </a:p>
      </dgm:t>
    </dgm:pt>
    <dgm:pt modelId="{64FC1E5E-588C-42D9-8EA6-EDE0604CAA1B}" type="parTrans" cxnId="{35447D06-C8B5-43DA-92EF-D0F19D0FD5CC}">
      <dgm:prSet/>
      <dgm:spPr/>
      <dgm:t>
        <a:bodyPr/>
        <a:lstStyle/>
        <a:p>
          <a:endParaRPr lang="en-US" sz="1200"/>
        </a:p>
      </dgm:t>
    </dgm:pt>
    <dgm:pt modelId="{E851422C-0DE4-4325-AADC-DCBA6A4EAAAD}" type="sibTrans" cxnId="{35447D06-C8B5-43DA-92EF-D0F19D0FD5CC}">
      <dgm:prSet/>
      <dgm:spPr/>
      <dgm:t>
        <a:bodyPr/>
        <a:lstStyle/>
        <a:p>
          <a:endParaRPr lang="en-US" sz="1200"/>
        </a:p>
      </dgm:t>
    </dgm:pt>
    <dgm:pt modelId="{FCFAA539-6FA1-45AE-BB8C-00ED313CE253}">
      <dgm:prSet phldrT="[Text]" custT="1"/>
      <dgm:spPr/>
      <dgm:t>
        <a:bodyPr/>
        <a:lstStyle/>
        <a:p>
          <a:r>
            <a:rPr lang="en-US" sz="1100"/>
            <a:t>Gaining access and privilege escalation</a:t>
          </a:r>
        </a:p>
      </dgm:t>
    </dgm:pt>
    <dgm:pt modelId="{05F0D242-62F2-4603-B7FC-200F6BD0BD59}" type="parTrans" cxnId="{66C548A6-109D-49FC-A89E-49A4E4C85B28}">
      <dgm:prSet/>
      <dgm:spPr/>
      <dgm:t>
        <a:bodyPr/>
        <a:lstStyle/>
        <a:p>
          <a:endParaRPr lang="en-US" sz="1200"/>
        </a:p>
      </dgm:t>
    </dgm:pt>
    <dgm:pt modelId="{F48B36F7-F99F-49CE-9BE9-0D7A25C8F7B5}" type="sibTrans" cxnId="{66C548A6-109D-49FC-A89E-49A4E4C85B28}">
      <dgm:prSet/>
      <dgm:spPr/>
      <dgm:t>
        <a:bodyPr/>
        <a:lstStyle/>
        <a:p>
          <a:endParaRPr lang="en-US" sz="1200"/>
        </a:p>
      </dgm:t>
    </dgm:pt>
    <dgm:pt modelId="{8410BD15-8BFD-4005-A1C2-4CE74BB2882A}">
      <dgm:prSet phldrT="[Text]" custT="1"/>
      <dgm:spPr/>
      <dgm:t>
        <a:bodyPr/>
        <a:lstStyle/>
        <a:p>
          <a:r>
            <a:rPr lang="en-US" sz="1100"/>
            <a:t>Enumerating further</a:t>
          </a:r>
        </a:p>
      </dgm:t>
    </dgm:pt>
    <dgm:pt modelId="{F11CD12B-6B42-45D6-8B79-88BC3A4CC726}" type="parTrans" cxnId="{A6BBF960-81A8-4BCA-B87B-FC858A0C8422}">
      <dgm:prSet/>
      <dgm:spPr/>
      <dgm:t>
        <a:bodyPr/>
        <a:lstStyle/>
        <a:p>
          <a:endParaRPr lang="en-US" sz="1200"/>
        </a:p>
      </dgm:t>
    </dgm:pt>
    <dgm:pt modelId="{688A1D63-FEEB-4E75-BE86-ECF836993AC2}" type="sibTrans" cxnId="{A6BBF960-81A8-4BCA-B87B-FC858A0C8422}">
      <dgm:prSet/>
      <dgm:spPr/>
      <dgm:t>
        <a:bodyPr/>
        <a:lstStyle/>
        <a:p>
          <a:endParaRPr lang="en-US" sz="1200"/>
        </a:p>
      </dgm:t>
    </dgm:pt>
    <dgm:pt modelId="{92865147-C45D-444E-B45F-D633C4D62254}">
      <dgm:prSet phldrT="[Text]" custT="1"/>
      <dgm:spPr/>
      <dgm:t>
        <a:bodyPr/>
        <a:lstStyle/>
        <a:p>
          <a:r>
            <a:rPr lang="en-US" sz="1100"/>
            <a:t>Maintaining access</a:t>
          </a:r>
        </a:p>
      </dgm:t>
    </dgm:pt>
    <dgm:pt modelId="{372CA6CD-2162-4114-8CD1-473C7D33BE58}" type="parTrans" cxnId="{AD4AB0F4-E811-40E2-B003-C33205FF0BF5}">
      <dgm:prSet/>
      <dgm:spPr/>
      <dgm:t>
        <a:bodyPr/>
        <a:lstStyle/>
        <a:p>
          <a:endParaRPr lang="en-US" sz="1200"/>
        </a:p>
      </dgm:t>
    </dgm:pt>
    <dgm:pt modelId="{E9383D93-1FED-4E1A-B93A-47C40F01F386}" type="sibTrans" cxnId="{AD4AB0F4-E811-40E2-B003-C33205FF0BF5}">
      <dgm:prSet/>
      <dgm:spPr/>
      <dgm:t>
        <a:bodyPr/>
        <a:lstStyle/>
        <a:p>
          <a:endParaRPr lang="en-US" sz="1200"/>
        </a:p>
      </dgm:t>
    </dgm:pt>
    <dgm:pt modelId="{9973BE17-A95E-4F0D-AA18-08B763EB8ED0}">
      <dgm:prSet phldrT="[Text]" custT="1"/>
      <dgm:spPr/>
      <dgm:t>
        <a:bodyPr/>
        <a:lstStyle/>
        <a:p>
          <a:r>
            <a:rPr lang="en-US" sz="1100"/>
            <a:t>Compromising remote users/sites</a:t>
          </a:r>
        </a:p>
      </dgm:t>
    </dgm:pt>
    <dgm:pt modelId="{A47D8690-65E1-44A4-B911-1DCB9E0492EF}" type="parTrans" cxnId="{C2DA1C6F-8CF0-48FC-8ED4-0F41DC7FE4BD}">
      <dgm:prSet/>
      <dgm:spPr/>
      <dgm:t>
        <a:bodyPr/>
        <a:lstStyle/>
        <a:p>
          <a:endParaRPr lang="en-US" sz="1200"/>
        </a:p>
      </dgm:t>
    </dgm:pt>
    <dgm:pt modelId="{591CF5A1-71EB-4F00-BDB6-64F16E16E5D4}" type="sibTrans" cxnId="{C2DA1C6F-8CF0-48FC-8ED4-0F41DC7FE4BD}">
      <dgm:prSet/>
      <dgm:spPr/>
      <dgm:t>
        <a:bodyPr/>
        <a:lstStyle/>
        <a:p>
          <a:endParaRPr lang="en-US" sz="1200"/>
        </a:p>
      </dgm:t>
    </dgm:pt>
    <dgm:pt modelId="{18CED501-E73E-4890-A300-93018578F22E}">
      <dgm:prSet phldrT="[Text]" custT="1"/>
      <dgm:spPr/>
      <dgm:t>
        <a:bodyPr/>
        <a:lstStyle/>
        <a:p>
          <a:r>
            <a:rPr lang="en-US" sz="1100"/>
            <a:t>Vulnerability Identification</a:t>
          </a:r>
        </a:p>
      </dgm:t>
    </dgm:pt>
    <dgm:pt modelId="{566416CF-0FC3-4A79-94E5-05120E75DAB2}" type="parTrans" cxnId="{56E4499B-9CE1-412E-9238-CAA2D8EEA85E}">
      <dgm:prSet/>
      <dgm:spPr/>
      <dgm:t>
        <a:bodyPr/>
        <a:lstStyle/>
        <a:p>
          <a:endParaRPr lang="en-US" sz="1200"/>
        </a:p>
      </dgm:t>
    </dgm:pt>
    <dgm:pt modelId="{2999FB65-C910-420A-AF20-D7EDB2BC4BDB}" type="sibTrans" cxnId="{56E4499B-9CE1-412E-9238-CAA2D8EEA85E}">
      <dgm:prSet/>
      <dgm:spPr/>
      <dgm:t>
        <a:bodyPr/>
        <a:lstStyle/>
        <a:p>
          <a:endParaRPr lang="en-US" sz="1200"/>
        </a:p>
      </dgm:t>
    </dgm:pt>
    <dgm:pt modelId="{F456CA0B-FE86-41F0-944E-F8AAD0B5AD26}">
      <dgm:prSet phldrT="[Text]" custT="1"/>
      <dgm:spPr/>
      <dgm:t>
        <a:bodyPr/>
        <a:lstStyle/>
        <a:p>
          <a:r>
            <a:rPr lang="en-US" sz="1100"/>
            <a:t>Covering the track</a:t>
          </a:r>
        </a:p>
      </dgm:t>
    </dgm:pt>
    <dgm:pt modelId="{48C00A34-031B-4023-9FCB-CEDD91B0C24E}" type="parTrans" cxnId="{DEBBD841-0C44-42A1-AE5E-285DB2E2B891}">
      <dgm:prSet/>
      <dgm:spPr/>
      <dgm:t>
        <a:bodyPr/>
        <a:lstStyle/>
        <a:p>
          <a:endParaRPr lang="en-US" sz="1200"/>
        </a:p>
      </dgm:t>
    </dgm:pt>
    <dgm:pt modelId="{62DA89D9-AA98-4249-B277-417DFB41F143}" type="sibTrans" cxnId="{DEBBD841-0C44-42A1-AE5E-285DB2E2B891}">
      <dgm:prSet/>
      <dgm:spPr/>
      <dgm:t>
        <a:bodyPr/>
        <a:lstStyle/>
        <a:p>
          <a:endParaRPr lang="en-US" sz="1200"/>
        </a:p>
      </dgm:t>
    </dgm:pt>
    <dgm:pt modelId="{D25124EA-A56F-4BF1-9E84-67CBE9E01BAB}" type="pres">
      <dgm:prSet presAssocID="{D47D1C4A-09B7-4F2D-90C2-C09EB042561D}" presName="CompostProcess" presStyleCnt="0">
        <dgm:presLayoutVars>
          <dgm:dir/>
          <dgm:resizeHandles val="exact"/>
        </dgm:presLayoutVars>
      </dgm:prSet>
      <dgm:spPr/>
    </dgm:pt>
    <dgm:pt modelId="{B5492134-8402-4705-B6BC-EB85EB30792B}" type="pres">
      <dgm:prSet presAssocID="{D47D1C4A-09B7-4F2D-90C2-C09EB042561D}" presName="arrow" presStyleLbl="bgShp" presStyleIdx="0" presStyleCnt="1" custScaleX="117647" custScaleY="80130"/>
      <dgm:spPr>
        <a:gradFill rotWithShape="0">
          <a:gsLst>
            <a:gs pos="0">
              <a:schemeClr val="bg1">
                <a:lumMod val="75000"/>
                <a:alpha val="44000"/>
              </a:schemeClr>
            </a:gs>
            <a:gs pos="100000">
              <a:schemeClr val="tx1">
                <a:lumMod val="95000"/>
                <a:lumOff val="5000"/>
                <a:alpha val="91000"/>
              </a:schemeClr>
            </a:gs>
          </a:gsLst>
          <a:lin ang="7200000" scaled="0"/>
        </a:gradFill>
      </dgm:spPr>
    </dgm:pt>
    <dgm:pt modelId="{B733925B-7AED-42CD-B410-576D3EFBE368}" type="pres">
      <dgm:prSet presAssocID="{D47D1C4A-09B7-4F2D-90C2-C09EB042561D}" presName="linearProcess" presStyleCnt="0"/>
      <dgm:spPr/>
    </dgm:pt>
    <dgm:pt modelId="{3BF1FD39-9211-4C4F-A7B7-889CE46B8984}" type="pres">
      <dgm:prSet presAssocID="{34C9AD63-D560-4BA7-9E42-25F83091204D}" presName="textNode" presStyleLbl="node1" presStyleIdx="0" presStyleCnt="9" custScaleX="27123" custScaleY="36423" custLinFactNeighborX="-1909" custLinFactNeighborY="-26272">
        <dgm:presLayoutVars>
          <dgm:bulletEnabled val="1"/>
        </dgm:presLayoutVars>
      </dgm:prSet>
      <dgm:spPr/>
    </dgm:pt>
    <dgm:pt modelId="{597C7232-9C31-42D8-A5DE-AC06369E746D}" type="pres">
      <dgm:prSet presAssocID="{E7B5EEFC-36AF-4C31-AFCF-B62B27557842}" presName="sibTrans" presStyleCnt="0"/>
      <dgm:spPr/>
    </dgm:pt>
    <dgm:pt modelId="{77729CFD-C3EB-4EB7-9510-073582B5B318}" type="pres">
      <dgm:prSet presAssocID="{97C18325-5ABC-46FE-B574-8A647671E686}" presName="textNode" presStyleLbl="node1" presStyleIdx="1" presStyleCnt="9" custScaleX="27123" custScaleY="36423" custLinFactNeighborX="-1909" custLinFactNeighborY="-26272">
        <dgm:presLayoutVars>
          <dgm:bulletEnabled val="1"/>
        </dgm:presLayoutVars>
      </dgm:prSet>
      <dgm:spPr/>
    </dgm:pt>
    <dgm:pt modelId="{9D8A40F7-3EB6-49DB-8864-356C4931EF14}" type="pres">
      <dgm:prSet presAssocID="{61062686-68AA-42D4-9746-BF34527AE737}" presName="sibTrans" presStyleCnt="0"/>
      <dgm:spPr/>
    </dgm:pt>
    <dgm:pt modelId="{8F9B7931-7FB7-45BA-9716-E2EEB82DACE6}" type="pres">
      <dgm:prSet presAssocID="{18CED501-E73E-4890-A300-93018578F22E}" presName="textNode" presStyleLbl="node1" presStyleIdx="2" presStyleCnt="9" custScaleX="27123" custScaleY="36423" custLinFactNeighborX="-1909" custLinFactNeighborY="-26272">
        <dgm:presLayoutVars>
          <dgm:bulletEnabled val="1"/>
        </dgm:presLayoutVars>
      </dgm:prSet>
      <dgm:spPr/>
    </dgm:pt>
    <dgm:pt modelId="{F61D651A-CABC-473F-BC29-C69373542A63}" type="pres">
      <dgm:prSet presAssocID="{2999FB65-C910-420A-AF20-D7EDB2BC4BDB}" presName="sibTrans" presStyleCnt="0"/>
      <dgm:spPr/>
    </dgm:pt>
    <dgm:pt modelId="{F58768C0-06C7-4386-940F-B2B1EA4E24A3}" type="pres">
      <dgm:prSet presAssocID="{D0B69E13-B15D-4628-95EC-54E64426F9E5}" presName="textNode" presStyleLbl="node1" presStyleIdx="3" presStyleCnt="9" custScaleX="27123" custScaleY="36423" custLinFactNeighborX="-1909" custLinFactNeighborY="-26272">
        <dgm:presLayoutVars>
          <dgm:bulletEnabled val="1"/>
        </dgm:presLayoutVars>
      </dgm:prSet>
      <dgm:spPr/>
    </dgm:pt>
    <dgm:pt modelId="{ACAFFFC1-5D0E-464E-827C-9E7BCC34ABB6}" type="pres">
      <dgm:prSet presAssocID="{E851422C-0DE4-4325-AADC-DCBA6A4EAAAD}" presName="sibTrans" presStyleCnt="0"/>
      <dgm:spPr/>
    </dgm:pt>
    <dgm:pt modelId="{D0CCFECF-3A29-4D93-8054-535CFB304A5D}" type="pres">
      <dgm:prSet presAssocID="{FCFAA539-6FA1-45AE-BB8C-00ED313CE253}" presName="textNode" presStyleLbl="node1" presStyleIdx="4" presStyleCnt="9" custScaleX="27123" custScaleY="36423" custLinFactNeighborX="-1909" custLinFactNeighborY="-26272">
        <dgm:presLayoutVars>
          <dgm:bulletEnabled val="1"/>
        </dgm:presLayoutVars>
      </dgm:prSet>
      <dgm:spPr/>
    </dgm:pt>
    <dgm:pt modelId="{DDC4A927-2E73-4D9D-9F60-E56EF2099DA1}" type="pres">
      <dgm:prSet presAssocID="{F48B36F7-F99F-49CE-9BE9-0D7A25C8F7B5}" presName="sibTrans" presStyleCnt="0"/>
      <dgm:spPr/>
    </dgm:pt>
    <dgm:pt modelId="{D13F8B5B-AE9C-4CDD-B84A-733633AC3BFF}" type="pres">
      <dgm:prSet presAssocID="{8410BD15-8BFD-4005-A1C2-4CE74BB2882A}" presName="textNode" presStyleLbl="node1" presStyleIdx="5" presStyleCnt="9" custScaleX="27123" custScaleY="36423" custLinFactNeighborX="-1909" custLinFactNeighborY="-26272">
        <dgm:presLayoutVars>
          <dgm:bulletEnabled val="1"/>
        </dgm:presLayoutVars>
      </dgm:prSet>
      <dgm:spPr/>
    </dgm:pt>
    <dgm:pt modelId="{240B6B11-2D71-4DA2-8ECC-A9D451779197}" type="pres">
      <dgm:prSet presAssocID="{688A1D63-FEEB-4E75-BE86-ECF836993AC2}" presName="sibTrans" presStyleCnt="0"/>
      <dgm:spPr/>
    </dgm:pt>
    <dgm:pt modelId="{636D82E1-2BBD-4956-ADF8-45A0D9AAE966}" type="pres">
      <dgm:prSet presAssocID="{9973BE17-A95E-4F0D-AA18-08B763EB8ED0}" presName="textNode" presStyleLbl="node1" presStyleIdx="6" presStyleCnt="9" custScaleX="27123" custScaleY="36423" custLinFactNeighborX="-1909" custLinFactNeighborY="-26272">
        <dgm:presLayoutVars>
          <dgm:bulletEnabled val="1"/>
        </dgm:presLayoutVars>
      </dgm:prSet>
      <dgm:spPr/>
    </dgm:pt>
    <dgm:pt modelId="{D582EB70-B8C9-4717-BAE5-5B6DB0382E47}" type="pres">
      <dgm:prSet presAssocID="{591CF5A1-71EB-4F00-BDB6-64F16E16E5D4}" presName="sibTrans" presStyleCnt="0"/>
      <dgm:spPr/>
    </dgm:pt>
    <dgm:pt modelId="{C83036AF-C184-49FD-B8AF-5201FC3C4D4F}" type="pres">
      <dgm:prSet presAssocID="{92865147-C45D-444E-B45F-D633C4D62254}" presName="textNode" presStyleLbl="node1" presStyleIdx="7" presStyleCnt="9" custScaleX="27123" custScaleY="36423" custLinFactNeighborX="-1909" custLinFactNeighborY="-26272">
        <dgm:presLayoutVars>
          <dgm:bulletEnabled val="1"/>
        </dgm:presLayoutVars>
      </dgm:prSet>
      <dgm:spPr/>
    </dgm:pt>
    <dgm:pt modelId="{F490A97E-9476-4AB5-8404-A532490D8679}" type="pres">
      <dgm:prSet presAssocID="{E9383D93-1FED-4E1A-B93A-47C40F01F386}" presName="sibTrans" presStyleCnt="0"/>
      <dgm:spPr/>
    </dgm:pt>
    <dgm:pt modelId="{38B8BDE1-C20B-4097-9BF2-163923CB56AF}" type="pres">
      <dgm:prSet presAssocID="{F456CA0B-FE86-41F0-944E-F8AAD0B5AD26}" presName="textNode" presStyleLbl="node1" presStyleIdx="8" presStyleCnt="9" custScaleX="27123" custScaleY="36423" custLinFactNeighborX="-1909" custLinFactNeighborY="-26272">
        <dgm:presLayoutVars>
          <dgm:bulletEnabled val="1"/>
        </dgm:presLayoutVars>
      </dgm:prSet>
      <dgm:spPr/>
    </dgm:pt>
  </dgm:ptLst>
  <dgm:cxnLst>
    <dgm:cxn modelId="{87F7A604-7E65-4383-8482-22A6A856ADB7}" type="presOf" srcId="{D47D1C4A-09B7-4F2D-90C2-C09EB042561D}" destId="{D25124EA-A56F-4BF1-9E84-67CBE9E01BAB}" srcOrd="0" destOrd="0" presId="urn:microsoft.com/office/officeart/2005/8/layout/hProcess9"/>
    <dgm:cxn modelId="{35447D06-C8B5-43DA-92EF-D0F19D0FD5CC}" srcId="{D47D1C4A-09B7-4F2D-90C2-C09EB042561D}" destId="{D0B69E13-B15D-4628-95EC-54E64426F9E5}" srcOrd="3" destOrd="0" parTransId="{64FC1E5E-588C-42D9-8EA6-EDE0604CAA1B}" sibTransId="{E851422C-0DE4-4325-AADC-DCBA6A4EAAAD}"/>
    <dgm:cxn modelId="{766B4609-88D9-4604-B47A-E9EBCAC117B6}" type="presOf" srcId="{97C18325-5ABC-46FE-B574-8A647671E686}" destId="{77729CFD-C3EB-4EB7-9510-073582B5B318}" srcOrd="0" destOrd="0" presId="urn:microsoft.com/office/officeart/2005/8/layout/hProcess9"/>
    <dgm:cxn modelId="{B347460F-06A8-484F-8DE7-57C421012792}" type="presOf" srcId="{92865147-C45D-444E-B45F-D633C4D62254}" destId="{C83036AF-C184-49FD-B8AF-5201FC3C4D4F}" srcOrd="0" destOrd="0" presId="urn:microsoft.com/office/officeart/2005/8/layout/hProcess9"/>
    <dgm:cxn modelId="{425D8212-49FF-4002-8D16-C42D95E1A568}" type="presOf" srcId="{F456CA0B-FE86-41F0-944E-F8AAD0B5AD26}" destId="{38B8BDE1-C20B-4097-9BF2-163923CB56AF}" srcOrd="0" destOrd="0" presId="urn:microsoft.com/office/officeart/2005/8/layout/hProcess9"/>
    <dgm:cxn modelId="{2B8E8227-895E-4A4F-962B-5A7C86215421}" type="presOf" srcId="{34C9AD63-D560-4BA7-9E42-25F83091204D}" destId="{3BF1FD39-9211-4C4F-A7B7-889CE46B8984}" srcOrd="0" destOrd="0" presId="urn:microsoft.com/office/officeart/2005/8/layout/hProcess9"/>
    <dgm:cxn modelId="{A6BBF960-81A8-4BCA-B87B-FC858A0C8422}" srcId="{D47D1C4A-09B7-4F2D-90C2-C09EB042561D}" destId="{8410BD15-8BFD-4005-A1C2-4CE74BB2882A}" srcOrd="5" destOrd="0" parTransId="{F11CD12B-6B42-45D6-8B79-88BC3A4CC726}" sibTransId="{688A1D63-FEEB-4E75-BE86-ECF836993AC2}"/>
    <dgm:cxn modelId="{717F6A41-6527-4D71-84B4-F74BBF5240E0}" type="presOf" srcId="{8410BD15-8BFD-4005-A1C2-4CE74BB2882A}" destId="{D13F8B5B-AE9C-4CDD-B84A-733633AC3BFF}" srcOrd="0" destOrd="0" presId="urn:microsoft.com/office/officeart/2005/8/layout/hProcess9"/>
    <dgm:cxn modelId="{DEBBD841-0C44-42A1-AE5E-285DB2E2B891}" srcId="{D47D1C4A-09B7-4F2D-90C2-C09EB042561D}" destId="{F456CA0B-FE86-41F0-944E-F8AAD0B5AD26}" srcOrd="8" destOrd="0" parTransId="{48C00A34-031B-4023-9FCB-CEDD91B0C24E}" sibTransId="{62DA89D9-AA98-4249-B277-417DFB41F143}"/>
    <dgm:cxn modelId="{C2DA1C6F-8CF0-48FC-8ED4-0F41DC7FE4BD}" srcId="{D47D1C4A-09B7-4F2D-90C2-C09EB042561D}" destId="{9973BE17-A95E-4F0D-AA18-08B763EB8ED0}" srcOrd="6" destOrd="0" parTransId="{A47D8690-65E1-44A4-B911-1DCB9E0492EF}" sibTransId="{591CF5A1-71EB-4F00-BDB6-64F16E16E5D4}"/>
    <dgm:cxn modelId="{B556CC90-B600-4CCE-A324-087FB971CDC7}" srcId="{D47D1C4A-09B7-4F2D-90C2-C09EB042561D}" destId="{97C18325-5ABC-46FE-B574-8A647671E686}" srcOrd="1" destOrd="0" parTransId="{CCA86E4C-5487-4E1D-BF32-74BC196C2029}" sibTransId="{61062686-68AA-42D4-9746-BF34527AE737}"/>
    <dgm:cxn modelId="{56E4499B-9CE1-412E-9238-CAA2D8EEA85E}" srcId="{D47D1C4A-09B7-4F2D-90C2-C09EB042561D}" destId="{18CED501-E73E-4890-A300-93018578F22E}" srcOrd="2" destOrd="0" parTransId="{566416CF-0FC3-4A79-94E5-05120E75DAB2}" sibTransId="{2999FB65-C910-420A-AF20-D7EDB2BC4BDB}"/>
    <dgm:cxn modelId="{6ECBD2A2-D530-4A37-A245-781AA1AACDC6}" type="presOf" srcId="{18CED501-E73E-4890-A300-93018578F22E}" destId="{8F9B7931-7FB7-45BA-9716-E2EEB82DACE6}" srcOrd="0" destOrd="0" presId="urn:microsoft.com/office/officeart/2005/8/layout/hProcess9"/>
    <dgm:cxn modelId="{75D559A5-A711-4032-87D0-1B84ACE5C20F}" type="presOf" srcId="{9973BE17-A95E-4F0D-AA18-08B763EB8ED0}" destId="{636D82E1-2BBD-4956-ADF8-45A0D9AAE966}" srcOrd="0" destOrd="0" presId="urn:microsoft.com/office/officeart/2005/8/layout/hProcess9"/>
    <dgm:cxn modelId="{66C548A6-109D-49FC-A89E-49A4E4C85B28}" srcId="{D47D1C4A-09B7-4F2D-90C2-C09EB042561D}" destId="{FCFAA539-6FA1-45AE-BB8C-00ED313CE253}" srcOrd="4" destOrd="0" parTransId="{05F0D242-62F2-4603-B7FC-200F6BD0BD59}" sibTransId="{F48B36F7-F99F-49CE-9BE9-0D7A25C8F7B5}"/>
    <dgm:cxn modelId="{7A9DADD8-1391-4231-82EF-D66BB09777A9}" type="presOf" srcId="{FCFAA539-6FA1-45AE-BB8C-00ED313CE253}" destId="{D0CCFECF-3A29-4D93-8054-535CFB304A5D}" srcOrd="0" destOrd="0" presId="urn:microsoft.com/office/officeart/2005/8/layout/hProcess9"/>
    <dgm:cxn modelId="{C1E7A5DD-C224-4056-981D-090B58536090}" srcId="{D47D1C4A-09B7-4F2D-90C2-C09EB042561D}" destId="{34C9AD63-D560-4BA7-9E42-25F83091204D}" srcOrd="0" destOrd="0" parTransId="{9CD66C7D-9617-4B70-B515-BF2523BECB3A}" sibTransId="{E7B5EEFC-36AF-4C31-AFCF-B62B27557842}"/>
    <dgm:cxn modelId="{9D6265F1-A732-4C2D-94F4-6F426D704339}" type="presOf" srcId="{D0B69E13-B15D-4628-95EC-54E64426F9E5}" destId="{F58768C0-06C7-4386-940F-B2B1EA4E24A3}" srcOrd="0" destOrd="0" presId="urn:microsoft.com/office/officeart/2005/8/layout/hProcess9"/>
    <dgm:cxn modelId="{AD4AB0F4-E811-40E2-B003-C33205FF0BF5}" srcId="{D47D1C4A-09B7-4F2D-90C2-C09EB042561D}" destId="{92865147-C45D-444E-B45F-D633C4D62254}" srcOrd="7" destOrd="0" parTransId="{372CA6CD-2162-4114-8CD1-473C7D33BE58}" sibTransId="{E9383D93-1FED-4E1A-B93A-47C40F01F386}"/>
    <dgm:cxn modelId="{8D37591D-544C-45BB-A9CF-1A11CA1E58AE}" type="presParOf" srcId="{D25124EA-A56F-4BF1-9E84-67CBE9E01BAB}" destId="{B5492134-8402-4705-B6BC-EB85EB30792B}" srcOrd="0" destOrd="0" presId="urn:microsoft.com/office/officeart/2005/8/layout/hProcess9"/>
    <dgm:cxn modelId="{5E60BE07-5BA3-4515-A798-4F27D4A5DFD3}" type="presParOf" srcId="{D25124EA-A56F-4BF1-9E84-67CBE9E01BAB}" destId="{B733925B-7AED-42CD-B410-576D3EFBE368}" srcOrd="1" destOrd="0" presId="urn:microsoft.com/office/officeart/2005/8/layout/hProcess9"/>
    <dgm:cxn modelId="{EA1119FA-C2CB-4EFB-8BBA-BF161364E7F2}" type="presParOf" srcId="{B733925B-7AED-42CD-B410-576D3EFBE368}" destId="{3BF1FD39-9211-4C4F-A7B7-889CE46B8984}" srcOrd="0" destOrd="0" presId="urn:microsoft.com/office/officeart/2005/8/layout/hProcess9"/>
    <dgm:cxn modelId="{0619FBE2-3200-4E8C-94FC-8B40504B92A1}" type="presParOf" srcId="{B733925B-7AED-42CD-B410-576D3EFBE368}" destId="{597C7232-9C31-42D8-A5DE-AC06369E746D}" srcOrd="1" destOrd="0" presId="urn:microsoft.com/office/officeart/2005/8/layout/hProcess9"/>
    <dgm:cxn modelId="{7E03AC2C-BAE4-43D5-99DE-FBA333D2196A}" type="presParOf" srcId="{B733925B-7AED-42CD-B410-576D3EFBE368}" destId="{77729CFD-C3EB-4EB7-9510-073582B5B318}" srcOrd="2" destOrd="0" presId="urn:microsoft.com/office/officeart/2005/8/layout/hProcess9"/>
    <dgm:cxn modelId="{CAFB399A-70EB-4D8B-8A19-888E65C92680}" type="presParOf" srcId="{B733925B-7AED-42CD-B410-576D3EFBE368}" destId="{9D8A40F7-3EB6-49DB-8864-356C4931EF14}" srcOrd="3" destOrd="0" presId="urn:microsoft.com/office/officeart/2005/8/layout/hProcess9"/>
    <dgm:cxn modelId="{7A1E2E15-1F67-4D51-8446-2B51B23930E9}" type="presParOf" srcId="{B733925B-7AED-42CD-B410-576D3EFBE368}" destId="{8F9B7931-7FB7-45BA-9716-E2EEB82DACE6}" srcOrd="4" destOrd="0" presId="urn:microsoft.com/office/officeart/2005/8/layout/hProcess9"/>
    <dgm:cxn modelId="{D55C3473-4214-4E3A-ABC4-BCED37286E77}" type="presParOf" srcId="{B733925B-7AED-42CD-B410-576D3EFBE368}" destId="{F61D651A-CABC-473F-BC29-C69373542A63}" srcOrd="5" destOrd="0" presId="urn:microsoft.com/office/officeart/2005/8/layout/hProcess9"/>
    <dgm:cxn modelId="{12FBFB53-3468-480B-A35A-B31F03B1E984}" type="presParOf" srcId="{B733925B-7AED-42CD-B410-576D3EFBE368}" destId="{F58768C0-06C7-4386-940F-B2B1EA4E24A3}" srcOrd="6" destOrd="0" presId="urn:microsoft.com/office/officeart/2005/8/layout/hProcess9"/>
    <dgm:cxn modelId="{1C3C5FE1-A08D-41A2-80FC-D54BD4D0749E}" type="presParOf" srcId="{B733925B-7AED-42CD-B410-576D3EFBE368}" destId="{ACAFFFC1-5D0E-464E-827C-9E7BCC34ABB6}" srcOrd="7" destOrd="0" presId="urn:microsoft.com/office/officeart/2005/8/layout/hProcess9"/>
    <dgm:cxn modelId="{667720B3-FFC5-4BF8-9AB0-CEB356A888B9}" type="presParOf" srcId="{B733925B-7AED-42CD-B410-576D3EFBE368}" destId="{D0CCFECF-3A29-4D93-8054-535CFB304A5D}" srcOrd="8" destOrd="0" presId="urn:microsoft.com/office/officeart/2005/8/layout/hProcess9"/>
    <dgm:cxn modelId="{54DE16E1-4D50-4471-9D7A-FB3D8C4729C8}" type="presParOf" srcId="{B733925B-7AED-42CD-B410-576D3EFBE368}" destId="{DDC4A927-2E73-4D9D-9F60-E56EF2099DA1}" srcOrd="9" destOrd="0" presId="urn:microsoft.com/office/officeart/2005/8/layout/hProcess9"/>
    <dgm:cxn modelId="{A09A883C-2086-4598-AE2A-D7942EAB9250}" type="presParOf" srcId="{B733925B-7AED-42CD-B410-576D3EFBE368}" destId="{D13F8B5B-AE9C-4CDD-B84A-733633AC3BFF}" srcOrd="10" destOrd="0" presId="urn:microsoft.com/office/officeart/2005/8/layout/hProcess9"/>
    <dgm:cxn modelId="{AF265C94-0EDC-42F6-AD08-5F641BDC999D}" type="presParOf" srcId="{B733925B-7AED-42CD-B410-576D3EFBE368}" destId="{240B6B11-2D71-4DA2-8ECC-A9D451779197}" srcOrd="11" destOrd="0" presId="urn:microsoft.com/office/officeart/2005/8/layout/hProcess9"/>
    <dgm:cxn modelId="{FF65A8D5-E349-4C22-9A0E-4CF507D83179}" type="presParOf" srcId="{B733925B-7AED-42CD-B410-576D3EFBE368}" destId="{636D82E1-2BBD-4956-ADF8-45A0D9AAE966}" srcOrd="12" destOrd="0" presId="urn:microsoft.com/office/officeart/2005/8/layout/hProcess9"/>
    <dgm:cxn modelId="{8EB8A34E-FAB1-487E-A5B9-1018E0B32573}" type="presParOf" srcId="{B733925B-7AED-42CD-B410-576D3EFBE368}" destId="{D582EB70-B8C9-4717-BAE5-5B6DB0382E47}" srcOrd="13" destOrd="0" presId="urn:microsoft.com/office/officeart/2005/8/layout/hProcess9"/>
    <dgm:cxn modelId="{53EBB3EC-FF22-4DDA-A208-9D4E71610EB8}" type="presParOf" srcId="{B733925B-7AED-42CD-B410-576D3EFBE368}" destId="{C83036AF-C184-49FD-B8AF-5201FC3C4D4F}" srcOrd="14" destOrd="0" presId="urn:microsoft.com/office/officeart/2005/8/layout/hProcess9"/>
    <dgm:cxn modelId="{C5A16075-ACFF-44FD-A0C6-6DDC98CBE90B}" type="presParOf" srcId="{B733925B-7AED-42CD-B410-576D3EFBE368}" destId="{F490A97E-9476-4AB5-8404-A532490D8679}" srcOrd="15" destOrd="0" presId="urn:microsoft.com/office/officeart/2005/8/layout/hProcess9"/>
    <dgm:cxn modelId="{2E36CBC8-2A44-457D-9FBF-83BD21BD82DB}" type="presParOf" srcId="{B733925B-7AED-42CD-B410-576D3EFBE368}" destId="{38B8BDE1-C20B-4097-9BF2-163923CB56AF}" srcOrd="16" destOrd="0" presId="urn:microsoft.com/office/officeart/2005/8/layout/hProcess9"/>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7EA58F-09ED-4798-8F4C-BE46AC0FF87E}" type="doc">
      <dgm:prSet loTypeId="urn:microsoft.com/office/officeart/2005/8/layout/process5" loCatId="process" qsTypeId="urn:microsoft.com/office/officeart/2005/8/quickstyle/simple1" qsCatId="simple" csTypeId="urn:microsoft.com/office/officeart/2005/8/colors/colorful1" csCatId="colorful" phldr="1"/>
      <dgm:spPr/>
      <dgm:t>
        <a:bodyPr/>
        <a:lstStyle/>
        <a:p>
          <a:endParaRPr lang="en-US"/>
        </a:p>
      </dgm:t>
    </dgm:pt>
    <dgm:pt modelId="{4A6B5C6D-6E78-4804-8668-A4D204E35A6C}">
      <dgm:prSet phldrT="[Text]"/>
      <dgm:spPr>
        <a:xfrm>
          <a:off x="0" y="1333500"/>
          <a:ext cx="1333499" cy="533399"/>
        </a:xfrm>
        <a:solidFill>
          <a:srgbClr val="001D64"/>
        </a:solidFill>
      </dgm:spPr>
      <dgm:t>
        <a:bodyPr/>
        <a:lstStyle/>
        <a:p>
          <a:pPr>
            <a:buNone/>
          </a:pPr>
          <a:r>
            <a:rPr lang="en-US">
              <a:latin typeface="Calibri"/>
              <a:ea typeface="+mn-ea"/>
              <a:cs typeface="+mn-cs"/>
            </a:rPr>
            <a:t>Pre-engagement Interactions</a:t>
          </a:r>
        </a:p>
      </dgm:t>
    </dgm:pt>
    <dgm:pt modelId="{3B76C237-7EE4-456B-82AC-562A6A59B8AD}" type="parTrans" cxnId="{9375F677-D787-4147-AF63-36A3B44DAC40}">
      <dgm:prSet/>
      <dgm:spPr/>
      <dgm:t>
        <a:bodyPr/>
        <a:lstStyle/>
        <a:p>
          <a:endParaRPr lang="en-US"/>
        </a:p>
      </dgm:t>
    </dgm:pt>
    <dgm:pt modelId="{147B4D86-3C54-4E32-A9EC-13F4863C34AD}" type="sibTrans" cxnId="{9375F677-D787-4147-AF63-36A3B44DAC40}">
      <dgm:prSet/>
      <dgm:spPr>
        <a:solidFill>
          <a:srgbClr val="001D64"/>
        </a:solidFill>
      </dgm:spPr>
      <dgm:t>
        <a:bodyPr/>
        <a:lstStyle/>
        <a:p>
          <a:endParaRPr lang="en-US"/>
        </a:p>
      </dgm:t>
    </dgm:pt>
    <dgm:pt modelId="{0B79BEC7-32B3-4CC1-A654-E0ACFD858827}">
      <dgm:prSet/>
      <dgm:spPr>
        <a:xfrm>
          <a:off x="1200149" y="1333500"/>
          <a:ext cx="1333499" cy="533399"/>
        </a:xfrm>
        <a:solidFill>
          <a:srgbClr val="C00000"/>
        </a:solidFill>
      </dgm:spPr>
      <dgm:t>
        <a:bodyPr/>
        <a:lstStyle/>
        <a:p>
          <a:pPr>
            <a:buNone/>
          </a:pPr>
          <a:r>
            <a:rPr lang="en-US">
              <a:latin typeface="Calibri"/>
              <a:ea typeface="+mn-ea"/>
              <a:cs typeface="+mn-cs"/>
            </a:rPr>
            <a:t>Intelligence Gathering</a:t>
          </a:r>
        </a:p>
      </dgm:t>
    </dgm:pt>
    <dgm:pt modelId="{AD6F086F-D148-4AEB-B49A-576A613359F0}" type="parTrans" cxnId="{1F046524-A4A0-4CA2-A625-3DD99D5000BB}">
      <dgm:prSet/>
      <dgm:spPr/>
      <dgm:t>
        <a:bodyPr/>
        <a:lstStyle/>
        <a:p>
          <a:endParaRPr lang="en-US"/>
        </a:p>
      </dgm:t>
    </dgm:pt>
    <dgm:pt modelId="{2AF2DA31-0484-4799-B2DF-FFA9FF0D3660}" type="sibTrans" cxnId="{1F046524-A4A0-4CA2-A625-3DD99D5000BB}">
      <dgm:prSet/>
      <dgm:spPr>
        <a:solidFill>
          <a:srgbClr val="C00000"/>
        </a:solidFill>
      </dgm:spPr>
      <dgm:t>
        <a:bodyPr/>
        <a:lstStyle/>
        <a:p>
          <a:endParaRPr lang="en-US"/>
        </a:p>
      </dgm:t>
    </dgm:pt>
    <dgm:pt modelId="{123BA00F-0FAD-4128-89C3-246A2F27D0D1}">
      <dgm:prSet/>
      <dgm:spPr>
        <a:xfrm>
          <a:off x="2400299" y="1333500"/>
          <a:ext cx="1333499" cy="533399"/>
        </a:xfrm>
        <a:solidFill>
          <a:srgbClr val="C55A11"/>
        </a:solidFill>
      </dgm:spPr>
      <dgm:t>
        <a:bodyPr/>
        <a:lstStyle/>
        <a:p>
          <a:pPr>
            <a:buNone/>
          </a:pPr>
          <a:r>
            <a:rPr lang="en-US">
              <a:latin typeface="Calibri"/>
              <a:ea typeface="+mn-ea"/>
              <a:cs typeface="+mn-cs"/>
            </a:rPr>
            <a:t>Threat Modeling</a:t>
          </a:r>
        </a:p>
      </dgm:t>
    </dgm:pt>
    <dgm:pt modelId="{483CF72F-912C-4704-B42A-7F55798F50BC}" type="parTrans" cxnId="{4087F4C4-A8B9-46F4-A33A-9288A20815D8}">
      <dgm:prSet/>
      <dgm:spPr/>
      <dgm:t>
        <a:bodyPr/>
        <a:lstStyle/>
        <a:p>
          <a:endParaRPr lang="en-US"/>
        </a:p>
      </dgm:t>
    </dgm:pt>
    <dgm:pt modelId="{E071BF67-E42B-422B-AEBE-CDE0D9B8A479}" type="sibTrans" cxnId="{4087F4C4-A8B9-46F4-A33A-9288A20815D8}">
      <dgm:prSet/>
      <dgm:spPr>
        <a:solidFill>
          <a:srgbClr val="C55A11"/>
        </a:solidFill>
      </dgm:spPr>
      <dgm:t>
        <a:bodyPr/>
        <a:lstStyle/>
        <a:p>
          <a:endParaRPr lang="en-US"/>
        </a:p>
      </dgm:t>
    </dgm:pt>
    <dgm:pt modelId="{51315335-2EAE-4D10-ACCA-B9475930F99B}">
      <dgm:prSet/>
      <dgm:spPr>
        <a:xfrm>
          <a:off x="3600449" y="1333500"/>
          <a:ext cx="1333499" cy="533399"/>
        </a:xfrm>
        <a:solidFill>
          <a:srgbClr val="ED7D31"/>
        </a:solidFill>
      </dgm:spPr>
      <dgm:t>
        <a:bodyPr/>
        <a:lstStyle/>
        <a:p>
          <a:pPr>
            <a:buNone/>
          </a:pPr>
          <a:r>
            <a:rPr lang="en-US">
              <a:latin typeface="Calibri"/>
              <a:ea typeface="+mn-ea"/>
              <a:cs typeface="+mn-cs"/>
            </a:rPr>
            <a:t>Vulnerability Analysis</a:t>
          </a:r>
        </a:p>
      </dgm:t>
    </dgm:pt>
    <dgm:pt modelId="{4F72F3E7-CE0A-4BCD-8C9B-860117E4945A}" type="parTrans" cxnId="{6CF47830-6AAB-4D56-9A55-5A7A8379CF27}">
      <dgm:prSet/>
      <dgm:spPr/>
      <dgm:t>
        <a:bodyPr/>
        <a:lstStyle/>
        <a:p>
          <a:endParaRPr lang="en-US"/>
        </a:p>
      </dgm:t>
    </dgm:pt>
    <dgm:pt modelId="{43841363-0431-45B2-8631-C434134A3B0D}" type="sibTrans" cxnId="{6CF47830-6AAB-4D56-9A55-5A7A8379CF27}">
      <dgm:prSet/>
      <dgm:spPr>
        <a:solidFill>
          <a:srgbClr val="ED7D31"/>
        </a:solidFill>
      </dgm:spPr>
      <dgm:t>
        <a:bodyPr/>
        <a:lstStyle/>
        <a:p>
          <a:endParaRPr lang="en-US"/>
        </a:p>
      </dgm:t>
    </dgm:pt>
    <dgm:pt modelId="{FF00E7AB-C3AD-46D5-A0B2-7C39D32DCCE5}">
      <dgm:prSet/>
      <dgm:spPr>
        <a:xfrm>
          <a:off x="4800599" y="1333500"/>
          <a:ext cx="1333499" cy="533399"/>
        </a:xfrm>
        <a:solidFill>
          <a:srgbClr val="4472C4"/>
        </a:solidFill>
      </dgm:spPr>
      <dgm:t>
        <a:bodyPr/>
        <a:lstStyle/>
        <a:p>
          <a:pPr>
            <a:buNone/>
          </a:pPr>
          <a:r>
            <a:rPr lang="en-US">
              <a:latin typeface="Calibri"/>
              <a:ea typeface="+mn-ea"/>
              <a:cs typeface="+mn-cs"/>
            </a:rPr>
            <a:t>Exploitation</a:t>
          </a:r>
        </a:p>
      </dgm:t>
    </dgm:pt>
    <dgm:pt modelId="{5240A81E-B09B-443F-8B68-BA68950C72A6}" type="parTrans" cxnId="{30432C13-AC0A-425D-8F3D-4DF45FC08A93}">
      <dgm:prSet/>
      <dgm:spPr/>
      <dgm:t>
        <a:bodyPr/>
        <a:lstStyle/>
        <a:p>
          <a:endParaRPr lang="en-US"/>
        </a:p>
      </dgm:t>
    </dgm:pt>
    <dgm:pt modelId="{9CF51461-CC25-406C-8855-9515F0F0D558}" type="sibTrans" cxnId="{30432C13-AC0A-425D-8F3D-4DF45FC08A93}">
      <dgm:prSet/>
      <dgm:spPr>
        <a:solidFill>
          <a:srgbClr val="4472C4"/>
        </a:solidFill>
      </dgm:spPr>
      <dgm:t>
        <a:bodyPr/>
        <a:lstStyle/>
        <a:p>
          <a:endParaRPr lang="en-US"/>
        </a:p>
      </dgm:t>
    </dgm:pt>
    <dgm:pt modelId="{CEC7FBFB-3902-4176-9A7A-01E8C962CD07}">
      <dgm:prSet/>
      <dgm:spPr>
        <a:xfrm>
          <a:off x="6000749" y="1333500"/>
          <a:ext cx="1333499" cy="533399"/>
        </a:xfrm>
        <a:solidFill>
          <a:schemeClr val="bg2">
            <a:lumMod val="50000"/>
          </a:schemeClr>
        </a:solidFill>
      </dgm:spPr>
      <dgm:t>
        <a:bodyPr/>
        <a:lstStyle/>
        <a:p>
          <a:pPr>
            <a:buNone/>
          </a:pPr>
          <a:r>
            <a:rPr lang="en-US">
              <a:latin typeface="Calibri"/>
              <a:ea typeface="+mn-ea"/>
              <a:cs typeface="+mn-cs"/>
            </a:rPr>
            <a:t>Post-Exploitation</a:t>
          </a:r>
        </a:p>
      </dgm:t>
    </dgm:pt>
    <dgm:pt modelId="{1A5009BE-71FA-4BBE-AE37-DCFF9F319F8F}" type="parTrans" cxnId="{8A9914D6-2E87-496A-AD24-B89B1B0927D5}">
      <dgm:prSet/>
      <dgm:spPr/>
      <dgm:t>
        <a:bodyPr/>
        <a:lstStyle/>
        <a:p>
          <a:endParaRPr lang="en-US"/>
        </a:p>
      </dgm:t>
    </dgm:pt>
    <dgm:pt modelId="{06CDEA48-54E6-4836-BA6D-64278E5D00B4}" type="sibTrans" cxnId="{8A9914D6-2E87-496A-AD24-B89B1B0927D5}">
      <dgm:prSet/>
      <dgm:spPr>
        <a:solidFill>
          <a:schemeClr val="bg2">
            <a:lumMod val="50000"/>
          </a:schemeClr>
        </a:solidFill>
      </dgm:spPr>
      <dgm:t>
        <a:bodyPr/>
        <a:lstStyle/>
        <a:p>
          <a:endParaRPr lang="en-US"/>
        </a:p>
      </dgm:t>
    </dgm:pt>
    <dgm:pt modelId="{C3056192-E786-4C02-B735-F85D2B1E7261}">
      <dgm:prSet/>
      <dgm:spPr>
        <a:xfrm>
          <a:off x="7200899" y="1333500"/>
          <a:ext cx="1333499" cy="533399"/>
        </a:xfrm>
        <a:solidFill>
          <a:schemeClr val="bg1">
            <a:lumMod val="50000"/>
          </a:schemeClr>
        </a:solidFill>
      </dgm:spPr>
      <dgm:t>
        <a:bodyPr/>
        <a:lstStyle/>
        <a:p>
          <a:pPr>
            <a:buNone/>
          </a:pPr>
          <a:r>
            <a:rPr lang="en-US">
              <a:latin typeface="Calibri"/>
              <a:ea typeface="+mn-ea"/>
              <a:cs typeface="+mn-cs"/>
            </a:rPr>
            <a:t>Reporting</a:t>
          </a:r>
        </a:p>
      </dgm:t>
    </dgm:pt>
    <dgm:pt modelId="{8BD7A910-D0C5-4AEA-B4DD-D376E869A9B0}" type="parTrans" cxnId="{D482073C-2627-47B0-93E7-5A97C350B59A}">
      <dgm:prSet/>
      <dgm:spPr/>
      <dgm:t>
        <a:bodyPr/>
        <a:lstStyle/>
        <a:p>
          <a:endParaRPr lang="en-US"/>
        </a:p>
      </dgm:t>
    </dgm:pt>
    <dgm:pt modelId="{D9D885A8-470C-4419-85C6-B0BE3B8DA54D}" type="sibTrans" cxnId="{D482073C-2627-47B0-93E7-5A97C350B59A}">
      <dgm:prSet/>
      <dgm:spPr/>
      <dgm:t>
        <a:bodyPr/>
        <a:lstStyle/>
        <a:p>
          <a:endParaRPr lang="en-US"/>
        </a:p>
      </dgm:t>
    </dgm:pt>
    <dgm:pt modelId="{DA63434E-8AF8-4FD4-99F4-0CE30D598C3B}" type="pres">
      <dgm:prSet presAssocID="{F47EA58F-09ED-4798-8F4C-BE46AC0FF87E}" presName="diagram" presStyleCnt="0">
        <dgm:presLayoutVars>
          <dgm:dir/>
          <dgm:resizeHandles val="exact"/>
        </dgm:presLayoutVars>
      </dgm:prSet>
      <dgm:spPr/>
    </dgm:pt>
    <dgm:pt modelId="{0BA1B184-55D1-4313-A9B7-B11EFA040AB1}" type="pres">
      <dgm:prSet presAssocID="{4A6B5C6D-6E78-4804-8668-A4D204E35A6C}" presName="node" presStyleLbl="node1" presStyleIdx="0" presStyleCnt="7">
        <dgm:presLayoutVars>
          <dgm:bulletEnabled val="1"/>
        </dgm:presLayoutVars>
      </dgm:prSet>
      <dgm:spPr>
        <a:prstGeom prst="flowChartProcess">
          <a:avLst/>
        </a:prstGeom>
      </dgm:spPr>
    </dgm:pt>
    <dgm:pt modelId="{EAC454C6-9F0B-4284-9E9E-FCF97BBE220B}" type="pres">
      <dgm:prSet presAssocID="{147B4D86-3C54-4E32-A9EC-13F4863C34AD}" presName="sibTrans" presStyleLbl="sibTrans2D1" presStyleIdx="0" presStyleCnt="6"/>
      <dgm:spPr/>
    </dgm:pt>
    <dgm:pt modelId="{09B485DC-C646-4FD4-800F-F6F4C387AA13}" type="pres">
      <dgm:prSet presAssocID="{147B4D86-3C54-4E32-A9EC-13F4863C34AD}" presName="connectorText" presStyleLbl="sibTrans2D1" presStyleIdx="0" presStyleCnt="6"/>
      <dgm:spPr/>
    </dgm:pt>
    <dgm:pt modelId="{5902F681-8E43-4C19-97FD-C748C5BB32F1}" type="pres">
      <dgm:prSet presAssocID="{0B79BEC7-32B3-4CC1-A654-E0ACFD858827}" presName="node" presStyleLbl="node1" presStyleIdx="1" presStyleCnt="7">
        <dgm:presLayoutVars>
          <dgm:bulletEnabled val="1"/>
        </dgm:presLayoutVars>
      </dgm:prSet>
      <dgm:spPr>
        <a:prstGeom prst="flowChartProcess">
          <a:avLst/>
        </a:prstGeom>
      </dgm:spPr>
    </dgm:pt>
    <dgm:pt modelId="{6DFE7597-AB4B-4D5C-9803-0267CE063464}" type="pres">
      <dgm:prSet presAssocID="{2AF2DA31-0484-4799-B2DF-FFA9FF0D3660}" presName="sibTrans" presStyleLbl="sibTrans2D1" presStyleIdx="1" presStyleCnt="6"/>
      <dgm:spPr/>
    </dgm:pt>
    <dgm:pt modelId="{CFC085CB-78EE-432B-90B3-76C5AA3AF342}" type="pres">
      <dgm:prSet presAssocID="{2AF2DA31-0484-4799-B2DF-FFA9FF0D3660}" presName="connectorText" presStyleLbl="sibTrans2D1" presStyleIdx="1" presStyleCnt="6"/>
      <dgm:spPr/>
    </dgm:pt>
    <dgm:pt modelId="{8BDBFB12-35C2-431A-A1E6-7128E7FCC869}" type="pres">
      <dgm:prSet presAssocID="{123BA00F-0FAD-4128-89C3-246A2F27D0D1}" presName="node" presStyleLbl="node1" presStyleIdx="2" presStyleCnt="7">
        <dgm:presLayoutVars>
          <dgm:bulletEnabled val="1"/>
        </dgm:presLayoutVars>
      </dgm:prSet>
      <dgm:spPr>
        <a:prstGeom prst="flowChartProcess">
          <a:avLst/>
        </a:prstGeom>
      </dgm:spPr>
    </dgm:pt>
    <dgm:pt modelId="{D7D8557D-B6CE-4500-9D29-D3562DD86B5E}" type="pres">
      <dgm:prSet presAssocID="{E071BF67-E42B-422B-AEBE-CDE0D9B8A479}" presName="sibTrans" presStyleLbl="sibTrans2D1" presStyleIdx="2" presStyleCnt="6"/>
      <dgm:spPr/>
    </dgm:pt>
    <dgm:pt modelId="{2EB9D1A1-E0E8-4F61-B2BF-CE5425DC348E}" type="pres">
      <dgm:prSet presAssocID="{E071BF67-E42B-422B-AEBE-CDE0D9B8A479}" presName="connectorText" presStyleLbl="sibTrans2D1" presStyleIdx="2" presStyleCnt="6"/>
      <dgm:spPr/>
    </dgm:pt>
    <dgm:pt modelId="{70512178-5514-43C7-B22A-029E13BB831F}" type="pres">
      <dgm:prSet presAssocID="{51315335-2EAE-4D10-ACCA-B9475930F99B}" presName="node" presStyleLbl="node1" presStyleIdx="3" presStyleCnt="7">
        <dgm:presLayoutVars>
          <dgm:bulletEnabled val="1"/>
        </dgm:presLayoutVars>
      </dgm:prSet>
      <dgm:spPr>
        <a:prstGeom prst="flowChartProcess">
          <a:avLst/>
        </a:prstGeom>
      </dgm:spPr>
    </dgm:pt>
    <dgm:pt modelId="{4B71AFD2-9778-47D5-982A-B12D9D76A0E8}" type="pres">
      <dgm:prSet presAssocID="{43841363-0431-45B2-8631-C434134A3B0D}" presName="sibTrans" presStyleLbl="sibTrans2D1" presStyleIdx="3" presStyleCnt="6"/>
      <dgm:spPr/>
    </dgm:pt>
    <dgm:pt modelId="{1709BAA8-A259-414B-AEE8-871A06F6CF4D}" type="pres">
      <dgm:prSet presAssocID="{43841363-0431-45B2-8631-C434134A3B0D}" presName="connectorText" presStyleLbl="sibTrans2D1" presStyleIdx="3" presStyleCnt="6"/>
      <dgm:spPr/>
    </dgm:pt>
    <dgm:pt modelId="{35B489AA-AD12-4474-B2BA-B514A5060D7D}" type="pres">
      <dgm:prSet presAssocID="{FF00E7AB-C3AD-46D5-A0B2-7C39D32DCCE5}" presName="node" presStyleLbl="node1" presStyleIdx="4" presStyleCnt="7">
        <dgm:presLayoutVars>
          <dgm:bulletEnabled val="1"/>
        </dgm:presLayoutVars>
      </dgm:prSet>
      <dgm:spPr>
        <a:prstGeom prst="flowChartProcess">
          <a:avLst/>
        </a:prstGeom>
      </dgm:spPr>
    </dgm:pt>
    <dgm:pt modelId="{C657CADF-184D-46D8-81B7-A53028B278D6}" type="pres">
      <dgm:prSet presAssocID="{9CF51461-CC25-406C-8855-9515F0F0D558}" presName="sibTrans" presStyleLbl="sibTrans2D1" presStyleIdx="4" presStyleCnt="6"/>
      <dgm:spPr/>
    </dgm:pt>
    <dgm:pt modelId="{5CB77C19-298F-44C0-8BEC-ED6054A7CBF1}" type="pres">
      <dgm:prSet presAssocID="{9CF51461-CC25-406C-8855-9515F0F0D558}" presName="connectorText" presStyleLbl="sibTrans2D1" presStyleIdx="4" presStyleCnt="6"/>
      <dgm:spPr/>
    </dgm:pt>
    <dgm:pt modelId="{4FA410D2-4C24-4E6E-B42D-9A2CD4E6128D}" type="pres">
      <dgm:prSet presAssocID="{CEC7FBFB-3902-4176-9A7A-01E8C962CD07}" presName="node" presStyleLbl="node1" presStyleIdx="5" presStyleCnt="7">
        <dgm:presLayoutVars>
          <dgm:bulletEnabled val="1"/>
        </dgm:presLayoutVars>
      </dgm:prSet>
      <dgm:spPr>
        <a:prstGeom prst="flowChartProcess">
          <a:avLst/>
        </a:prstGeom>
      </dgm:spPr>
    </dgm:pt>
    <dgm:pt modelId="{A58DAD09-7CBC-4CCB-A64B-8C2A35E60F7C}" type="pres">
      <dgm:prSet presAssocID="{06CDEA48-54E6-4836-BA6D-64278E5D00B4}" presName="sibTrans" presStyleLbl="sibTrans2D1" presStyleIdx="5" presStyleCnt="6"/>
      <dgm:spPr/>
    </dgm:pt>
    <dgm:pt modelId="{37C2EED1-AEB6-4F27-9354-237977BDB2B3}" type="pres">
      <dgm:prSet presAssocID="{06CDEA48-54E6-4836-BA6D-64278E5D00B4}" presName="connectorText" presStyleLbl="sibTrans2D1" presStyleIdx="5" presStyleCnt="6"/>
      <dgm:spPr/>
    </dgm:pt>
    <dgm:pt modelId="{98289DD9-05EE-4866-8F8D-07D6B807EB08}" type="pres">
      <dgm:prSet presAssocID="{C3056192-E786-4C02-B735-F85D2B1E7261}" presName="node" presStyleLbl="node1" presStyleIdx="6" presStyleCnt="7">
        <dgm:presLayoutVars>
          <dgm:bulletEnabled val="1"/>
        </dgm:presLayoutVars>
      </dgm:prSet>
      <dgm:spPr>
        <a:prstGeom prst="flowChartProcess">
          <a:avLst/>
        </a:prstGeom>
      </dgm:spPr>
    </dgm:pt>
  </dgm:ptLst>
  <dgm:cxnLst>
    <dgm:cxn modelId="{E1D4BE02-39BD-4D78-922C-0312313D2525}" type="presOf" srcId="{CEC7FBFB-3902-4176-9A7A-01E8C962CD07}" destId="{4FA410D2-4C24-4E6E-B42D-9A2CD4E6128D}" srcOrd="0" destOrd="0" presId="urn:microsoft.com/office/officeart/2005/8/layout/process5"/>
    <dgm:cxn modelId="{4E2A8410-4D70-4B43-8A66-6C49234C0610}" type="presOf" srcId="{43841363-0431-45B2-8631-C434134A3B0D}" destId="{4B71AFD2-9778-47D5-982A-B12D9D76A0E8}" srcOrd="0" destOrd="0" presId="urn:microsoft.com/office/officeart/2005/8/layout/process5"/>
    <dgm:cxn modelId="{30432C13-AC0A-425D-8F3D-4DF45FC08A93}" srcId="{F47EA58F-09ED-4798-8F4C-BE46AC0FF87E}" destId="{FF00E7AB-C3AD-46D5-A0B2-7C39D32DCCE5}" srcOrd="4" destOrd="0" parTransId="{5240A81E-B09B-443F-8B68-BA68950C72A6}" sibTransId="{9CF51461-CC25-406C-8855-9515F0F0D558}"/>
    <dgm:cxn modelId="{1F046524-A4A0-4CA2-A625-3DD99D5000BB}" srcId="{F47EA58F-09ED-4798-8F4C-BE46AC0FF87E}" destId="{0B79BEC7-32B3-4CC1-A654-E0ACFD858827}" srcOrd="1" destOrd="0" parTransId="{AD6F086F-D148-4AEB-B49A-576A613359F0}" sibTransId="{2AF2DA31-0484-4799-B2DF-FFA9FF0D3660}"/>
    <dgm:cxn modelId="{6CF47830-6AAB-4D56-9A55-5A7A8379CF27}" srcId="{F47EA58F-09ED-4798-8F4C-BE46AC0FF87E}" destId="{51315335-2EAE-4D10-ACCA-B9475930F99B}" srcOrd="3" destOrd="0" parTransId="{4F72F3E7-CE0A-4BCD-8C9B-860117E4945A}" sibTransId="{43841363-0431-45B2-8631-C434134A3B0D}"/>
    <dgm:cxn modelId="{D482073C-2627-47B0-93E7-5A97C350B59A}" srcId="{F47EA58F-09ED-4798-8F4C-BE46AC0FF87E}" destId="{C3056192-E786-4C02-B735-F85D2B1E7261}" srcOrd="6" destOrd="0" parTransId="{8BD7A910-D0C5-4AEA-B4DD-D376E869A9B0}" sibTransId="{D9D885A8-470C-4419-85C6-B0BE3B8DA54D}"/>
    <dgm:cxn modelId="{515DF23D-79FD-4A0D-A404-3C618825DD7C}" type="presOf" srcId="{06CDEA48-54E6-4836-BA6D-64278E5D00B4}" destId="{37C2EED1-AEB6-4F27-9354-237977BDB2B3}" srcOrd="1" destOrd="0" presId="urn:microsoft.com/office/officeart/2005/8/layout/process5"/>
    <dgm:cxn modelId="{0FC7CD40-3F26-4F37-9A14-5C468DC8C206}" type="presOf" srcId="{4A6B5C6D-6E78-4804-8668-A4D204E35A6C}" destId="{0BA1B184-55D1-4313-A9B7-B11EFA040AB1}" srcOrd="0" destOrd="0" presId="urn:microsoft.com/office/officeart/2005/8/layout/process5"/>
    <dgm:cxn modelId="{630BCE6C-73A1-4A35-9F89-8CAF7F6FF04E}" type="presOf" srcId="{C3056192-E786-4C02-B735-F85D2B1E7261}" destId="{98289DD9-05EE-4866-8F8D-07D6B807EB08}" srcOrd="0" destOrd="0" presId="urn:microsoft.com/office/officeart/2005/8/layout/process5"/>
    <dgm:cxn modelId="{35E87B54-00BD-4152-AC4E-53FA367474A6}" type="presOf" srcId="{E071BF67-E42B-422B-AEBE-CDE0D9B8A479}" destId="{2EB9D1A1-E0E8-4F61-B2BF-CE5425DC348E}" srcOrd="1" destOrd="0" presId="urn:microsoft.com/office/officeart/2005/8/layout/process5"/>
    <dgm:cxn modelId="{E1294055-5759-4499-93FF-563A1ACB4A7E}" type="presOf" srcId="{147B4D86-3C54-4E32-A9EC-13F4863C34AD}" destId="{EAC454C6-9F0B-4284-9E9E-FCF97BBE220B}" srcOrd="0" destOrd="0" presId="urn:microsoft.com/office/officeart/2005/8/layout/process5"/>
    <dgm:cxn modelId="{35DE4675-ACB9-4B22-A517-A3D7DC21989D}" type="presOf" srcId="{9CF51461-CC25-406C-8855-9515F0F0D558}" destId="{5CB77C19-298F-44C0-8BEC-ED6054A7CBF1}" srcOrd="1" destOrd="0" presId="urn:microsoft.com/office/officeart/2005/8/layout/process5"/>
    <dgm:cxn modelId="{E796E055-9CCB-48DA-B2EC-9373763B8045}" type="presOf" srcId="{E071BF67-E42B-422B-AEBE-CDE0D9B8A479}" destId="{D7D8557D-B6CE-4500-9D29-D3562DD86B5E}" srcOrd="0" destOrd="0" presId="urn:microsoft.com/office/officeart/2005/8/layout/process5"/>
    <dgm:cxn modelId="{9375F677-D787-4147-AF63-36A3B44DAC40}" srcId="{F47EA58F-09ED-4798-8F4C-BE46AC0FF87E}" destId="{4A6B5C6D-6E78-4804-8668-A4D204E35A6C}" srcOrd="0" destOrd="0" parTransId="{3B76C237-7EE4-456B-82AC-562A6A59B8AD}" sibTransId="{147B4D86-3C54-4E32-A9EC-13F4863C34AD}"/>
    <dgm:cxn modelId="{6D8D497E-044E-446C-8E5D-D8F45D6650DC}" type="presOf" srcId="{2AF2DA31-0484-4799-B2DF-FFA9FF0D3660}" destId="{CFC085CB-78EE-432B-90B3-76C5AA3AF342}" srcOrd="1" destOrd="0" presId="urn:microsoft.com/office/officeart/2005/8/layout/process5"/>
    <dgm:cxn modelId="{843B9C8F-D05C-4840-AA38-7B7151623D0F}" type="presOf" srcId="{F47EA58F-09ED-4798-8F4C-BE46AC0FF87E}" destId="{DA63434E-8AF8-4FD4-99F4-0CE30D598C3B}" srcOrd="0" destOrd="0" presId="urn:microsoft.com/office/officeart/2005/8/layout/process5"/>
    <dgm:cxn modelId="{EF708396-9113-4BBF-9F51-2655AF6A055A}" type="presOf" srcId="{FF00E7AB-C3AD-46D5-A0B2-7C39D32DCCE5}" destId="{35B489AA-AD12-4474-B2BA-B514A5060D7D}" srcOrd="0" destOrd="0" presId="urn:microsoft.com/office/officeart/2005/8/layout/process5"/>
    <dgm:cxn modelId="{7C5A959B-7B00-43E3-8E33-B0489394CCFA}" type="presOf" srcId="{0B79BEC7-32B3-4CC1-A654-E0ACFD858827}" destId="{5902F681-8E43-4C19-97FD-C748C5BB32F1}" srcOrd="0" destOrd="0" presId="urn:microsoft.com/office/officeart/2005/8/layout/process5"/>
    <dgm:cxn modelId="{4087F4C4-A8B9-46F4-A33A-9288A20815D8}" srcId="{F47EA58F-09ED-4798-8F4C-BE46AC0FF87E}" destId="{123BA00F-0FAD-4128-89C3-246A2F27D0D1}" srcOrd="2" destOrd="0" parTransId="{483CF72F-912C-4704-B42A-7F55798F50BC}" sibTransId="{E071BF67-E42B-422B-AEBE-CDE0D9B8A479}"/>
    <dgm:cxn modelId="{3A5BFCC7-E209-46E4-90BD-3212EE65B257}" type="presOf" srcId="{51315335-2EAE-4D10-ACCA-B9475930F99B}" destId="{70512178-5514-43C7-B22A-029E13BB831F}" srcOrd="0" destOrd="0" presId="urn:microsoft.com/office/officeart/2005/8/layout/process5"/>
    <dgm:cxn modelId="{C9ABD1CE-93B9-4AC4-AC08-BADC6FA756E7}" type="presOf" srcId="{2AF2DA31-0484-4799-B2DF-FFA9FF0D3660}" destId="{6DFE7597-AB4B-4D5C-9803-0267CE063464}" srcOrd="0" destOrd="0" presId="urn:microsoft.com/office/officeart/2005/8/layout/process5"/>
    <dgm:cxn modelId="{8A9914D6-2E87-496A-AD24-B89B1B0927D5}" srcId="{F47EA58F-09ED-4798-8F4C-BE46AC0FF87E}" destId="{CEC7FBFB-3902-4176-9A7A-01E8C962CD07}" srcOrd="5" destOrd="0" parTransId="{1A5009BE-71FA-4BBE-AE37-DCFF9F319F8F}" sibTransId="{06CDEA48-54E6-4836-BA6D-64278E5D00B4}"/>
    <dgm:cxn modelId="{0F7226E1-7525-4DC1-A69B-023CF6BB061A}" type="presOf" srcId="{9CF51461-CC25-406C-8855-9515F0F0D558}" destId="{C657CADF-184D-46D8-81B7-A53028B278D6}" srcOrd="0" destOrd="0" presId="urn:microsoft.com/office/officeart/2005/8/layout/process5"/>
    <dgm:cxn modelId="{19E5FEE6-AF66-4CC0-806E-BE1263A8CFF6}" type="presOf" srcId="{147B4D86-3C54-4E32-A9EC-13F4863C34AD}" destId="{09B485DC-C646-4FD4-800F-F6F4C387AA13}" srcOrd="1" destOrd="0" presId="urn:microsoft.com/office/officeart/2005/8/layout/process5"/>
    <dgm:cxn modelId="{1BD621E8-6215-42EA-86D6-42AC6B986AEA}" type="presOf" srcId="{43841363-0431-45B2-8631-C434134A3B0D}" destId="{1709BAA8-A259-414B-AEE8-871A06F6CF4D}" srcOrd="1" destOrd="0" presId="urn:microsoft.com/office/officeart/2005/8/layout/process5"/>
    <dgm:cxn modelId="{437C46EA-8BD6-44B3-A5C8-B042C49B7F27}" type="presOf" srcId="{06CDEA48-54E6-4836-BA6D-64278E5D00B4}" destId="{A58DAD09-7CBC-4CCB-A64B-8C2A35E60F7C}" srcOrd="0" destOrd="0" presId="urn:microsoft.com/office/officeart/2005/8/layout/process5"/>
    <dgm:cxn modelId="{4549ABF8-6B94-4947-9AF7-8F31B36F613E}" type="presOf" srcId="{123BA00F-0FAD-4128-89C3-246A2F27D0D1}" destId="{8BDBFB12-35C2-431A-A1E6-7128E7FCC869}" srcOrd="0" destOrd="0" presId="urn:microsoft.com/office/officeart/2005/8/layout/process5"/>
    <dgm:cxn modelId="{ABDC548F-DE74-49D2-8D41-BAD22DBB80DD}" type="presParOf" srcId="{DA63434E-8AF8-4FD4-99F4-0CE30D598C3B}" destId="{0BA1B184-55D1-4313-A9B7-B11EFA040AB1}" srcOrd="0" destOrd="0" presId="urn:microsoft.com/office/officeart/2005/8/layout/process5"/>
    <dgm:cxn modelId="{514E9757-5023-4ECC-AD68-CD6E60F56A00}" type="presParOf" srcId="{DA63434E-8AF8-4FD4-99F4-0CE30D598C3B}" destId="{EAC454C6-9F0B-4284-9E9E-FCF97BBE220B}" srcOrd="1" destOrd="0" presId="urn:microsoft.com/office/officeart/2005/8/layout/process5"/>
    <dgm:cxn modelId="{9D5548DE-829D-44FE-8BBA-E33AA9797262}" type="presParOf" srcId="{EAC454C6-9F0B-4284-9E9E-FCF97BBE220B}" destId="{09B485DC-C646-4FD4-800F-F6F4C387AA13}" srcOrd="0" destOrd="0" presId="urn:microsoft.com/office/officeart/2005/8/layout/process5"/>
    <dgm:cxn modelId="{1AC6CA50-6C28-4380-8FFF-171BAA663D2E}" type="presParOf" srcId="{DA63434E-8AF8-4FD4-99F4-0CE30D598C3B}" destId="{5902F681-8E43-4C19-97FD-C748C5BB32F1}" srcOrd="2" destOrd="0" presId="urn:microsoft.com/office/officeart/2005/8/layout/process5"/>
    <dgm:cxn modelId="{CEF9D984-9C69-4B84-95C2-87E5F68159D8}" type="presParOf" srcId="{DA63434E-8AF8-4FD4-99F4-0CE30D598C3B}" destId="{6DFE7597-AB4B-4D5C-9803-0267CE063464}" srcOrd="3" destOrd="0" presId="urn:microsoft.com/office/officeart/2005/8/layout/process5"/>
    <dgm:cxn modelId="{51DCE42F-B598-48D1-8763-49DB30C08FFC}" type="presParOf" srcId="{6DFE7597-AB4B-4D5C-9803-0267CE063464}" destId="{CFC085CB-78EE-432B-90B3-76C5AA3AF342}" srcOrd="0" destOrd="0" presId="urn:microsoft.com/office/officeart/2005/8/layout/process5"/>
    <dgm:cxn modelId="{F42AC949-4F2D-4602-B86F-73E8FC71AF65}" type="presParOf" srcId="{DA63434E-8AF8-4FD4-99F4-0CE30D598C3B}" destId="{8BDBFB12-35C2-431A-A1E6-7128E7FCC869}" srcOrd="4" destOrd="0" presId="urn:microsoft.com/office/officeart/2005/8/layout/process5"/>
    <dgm:cxn modelId="{4A9509EB-E7D5-429F-A18F-C4742FEFF08E}" type="presParOf" srcId="{DA63434E-8AF8-4FD4-99F4-0CE30D598C3B}" destId="{D7D8557D-B6CE-4500-9D29-D3562DD86B5E}" srcOrd="5" destOrd="0" presId="urn:microsoft.com/office/officeart/2005/8/layout/process5"/>
    <dgm:cxn modelId="{C8B865E5-F28B-455B-88F2-9F75669BA8A1}" type="presParOf" srcId="{D7D8557D-B6CE-4500-9D29-D3562DD86B5E}" destId="{2EB9D1A1-E0E8-4F61-B2BF-CE5425DC348E}" srcOrd="0" destOrd="0" presId="urn:microsoft.com/office/officeart/2005/8/layout/process5"/>
    <dgm:cxn modelId="{791FD294-0976-4A99-AAC4-D2C2E3608A74}" type="presParOf" srcId="{DA63434E-8AF8-4FD4-99F4-0CE30D598C3B}" destId="{70512178-5514-43C7-B22A-029E13BB831F}" srcOrd="6" destOrd="0" presId="urn:microsoft.com/office/officeart/2005/8/layout/process5"/>
    <dgm:cxn modelId="{4505BEB8-3C1F-4326-98BC-1C454679F11D}" type="presParOf" srcId="{DA63434E-8AF8-4FD4-99F4-0CE30D598C3B}" destId="{4B71AFD2-9778-47D5-982A-B12D9D76A0E8}" srcOrd="7" destOrd="0" presId="urn:microsoft.com/office/officeart/2005/8/layout/process5"/>
    <dgm:cxn modelId="{45F657CD-E87F-4AA5-A8CF-CB030B048E3F}" type="presParOf" srcId="{4B71AFD2-9778-47D5-982A-B12D9D76A0E8}" destId="{1709BAA8-A259-414B-AEE8-871A06F6CF4D}" srcOrd="0" destOrd="0" presId="urn:microsoft.com/office/officeart/2005/8/layout/process5"/>
    <dgm:cxn modelId="{2746A5A3-7B05-4D9F-8CCE-C65B7B194627}" type="presParOf" srcId="{DA63434E-8AF8-4FD4-99F4-0CE30D598C3B}" destId="{35B489AA-AD12-4474-B2BA-B514A5060D7D}" srcOrd="8" destOrd="0" presId="urn:microsoft.com/office/officeart/2005/8/layout/process5"/>
    <dgm:cxn modelId="{349486D7-6C8E-4A88-8CF3-685F0C306187}" type="presParOf" srcId="{DA63434E-8AF8-4FD4-99F4-0CE30D598C3B}" destId="{C657CADF-184D-46D8-81B7-A53028B278D6}" srcOrd="9" destOrd="0" presId="urn:microsoft.com/office/officeart/2005/8/layout/process5"/>
    <dgm:cxn modelId="{E8B46425-B887-49D3-BE47-EC9657A3588F}" type="presParOf" srcId="{C657CADF-184D-46D8-81B7-A53028B278D6}" destId="{5CB77C19-298F-44C0-8BEC-ED6054A7CBF1}" srcOrd="0" destOrd="0" presId="urn:microsoft.com/office/officeart/2005/8/layout/process5"/>
    <dgm:cxn modelId="{527F5890-53DD-492C-9633-9D99A710C31B}" type="presParOf" srcId="{DA63434E-8AF8-4FD4-99F4-0CE30D598C3B}" destId="{4FA410D2-4C24-4E6E-B42D-9A2CD4E6128D}" srcOrd="10" destOrd="0" presId="urn:microsoft.com/office/officeart/2005/8/layout/process5"/>
    <dgm:cxn modelId="{90BABD3A-4DE9-4B8A-976A-A9325C59B56A}" type="presParOf" srcId="{DA63434E-8AF8-4FD4-99F4-0CE30D598C3B}" destId="{A58DAD09-7CBC-4CCB-A64B-8C2A35E60F7C}" srcOrd="11" destOrd="0" presId="urn:microsoft.com/office/officeart/2005/8/layout/process5"/>
    <dgm:cxn modelId="{610DB5C5-6B4B-448A-A544-39D0B0C246DD}" type="presParOf" srcId="{A58DAD09-7CBC-4CCB-A64B-8C2A35E60F7C}" destId="{37C2EED1-AEB6-4F27-9354-237977BDB2B3}" srcOrd="0" destOrd="0" presId="urn:microsoft.com/office/officeart/2005/8/layout/process5"/>
    <dgm:cxn modelId="{24D1EBBB-DD9A-414F-ABD4-35F6A22428E0}" type="presParOf" srcId="{DA63434E-8AF8-4FD4-99F4-0CE30D598C3B}" destId="{98289DD9-05EE-4866-8F8D-07D6B807EB08}" srcOrd="12" destOrd="0" presId="urn:microsoft.com/office/officeart/2005/8/layout/process5"/>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3322255-DF61-1745-9C3A-3FEDA6B61880}" type="doc">
      <dgm:prSet loTypeId="urn:microsoft.com/office/officeart/2008/layout/VerticalCurvedList" loCatId="" qsTypeId="urn:microsoft.com/office/officeart/2005/8/quickstyle/simple5" qsCatId="simple" csTypeId="urn:microsoft.com/office/officeart/2005/8/colors/accent0_1" csCatId="mainScheme" phldr="1"/>
      <dgm:spPr/>
      <dgm:t>
        <a:bodyPr/>
        <a:lstStyle/>
        <a:p>
          <a:endParaRPr lang="en-US"/>
        </a:p>
      </dgm:t>
    </dgm:pt>
    <dgm:pt modelId="{603C9219-4058-1B47-B800-EEF344FABF51}">
      <dgm:prSet phldrT="[Text]" custT="1"/>
      <dgm:spPr/>
      <dgm:t>
        <a:bodyPr/>
        <a:lstStyle/>
        <a:p>
          <a:pPr marL="0"/>
          <a:r>
            <a:rPr lang="en-US" sz="1100" b="1"/>
            <a:t>1. Injection</a:t>
          </a:r>
          <a:endParaRPr lang="en-US" sz="900" b="1"/>
        </a:p>
      </dgm:t>
    </dgm:pt>
    <dgm:pt modelId="{C129AD8D-844B-DB45-8C4C-77C7E335BAED}" type="parTrans" cxnId="{6D98233D-AAA2-344F-B4D9-A809C2C1E01F}">
      <dgm:prSet/>
      <dgm:spPr/>
      <dgm:t>
        <a:bodyPr/>
        <a:lstStyle/>
        <a:p>
          <a:endParaRPr lang="en-US"/>
        </a:p>
      </dgm:t>
    </dgm:pt>
    <dgm:pt modelId="{7F105B72-973B-FB4C-B96F-3F0316A0C910}" type="sibTrans" cxnId="{6D98233D-AAA2-344F-B4D9-A809C2C1E01F}">
      <dgm:prSet/>
      <dgm:spPr/>
      <dgm:t>
        <a:bodyPr/>
        <a:lstStyle/>
        <a:p>
          <a:endParaRPr lang="en-US"/>
        </a:p>
      </dgm:t>
    </dgm:pt>
    <dgm:pt modelId="{3227356C-B2E5-A04B-BE17-5A958DB2CDC4}">
      <dgm:prSet phldrT="[Text]" custT="1"/>
      <dgm:spPr/>
      <dgm:t>
        <a:bodyPr/>
        <a:lstStyle/>
        <a:p>
          <a:pPr marL="134938" indent="-125413" algn="just">
            <a:buClr>
              <a:schemeClr val="accent6"/>
            </a:buClr>
            <a:buSzPts val="900"/>
            <a:buFont typeface="Arial"/>
            <a:buChar char="►"/>
            <a:tabLst/>
          </a:pPr>
          <a:r>
            <a:rPr lang="en-US" sz="1100"/>
            <a:t>Injection flaws, such as SQL, NoSQL, OS, and LDAP injection, occur when untrusted data is sent to an interpreter as part of a command or query. The attacker’s hostile data can trick the interpreter into executing unintended commands or accessing data without proper authorization. </a:t>
          </a:r>
        </a:p>
      </dgm:t>
    </dgm:pt>
    <dgm:pt modelId="{B8A769C5-E68A-B74B-8155-F1127E3932DE}" type="parTrans" cxnId="{55F70C23-6500-F64B-B1AB-6A7C37409CD7}">
      <dgm:prSet/>
      <dgm:spPr/>
      <dgm:t>
        <a:bodyPr/>
        <a:lstStyle/>
        <a:p>
          <a:endParaRPr lang="en-US"/>
        </a:p>
      </dgm:t>
    </dgm:pt>
    <dgm:pt modelId="{18333C87-7E67-D546-A405-30609C2669F1}" type="sibTrans" cxnId="{55F70C23-6500-F64B-B1AB-6A7C37409CD7}">
      <dgm:prSet/>
      <dgm:spPr/>
      <dgm:t>
        <a:bodyPr/>
        <a:lstStyle/>
        <a:p>
          <a:endParaRPr lang="en-US"/>
        </a:p>
      </dgm:t>
    </dgm:pt>
    <dgm:pt modelId="{3F809109-4738-2D48-9C0F-AB19D1C8AC7C}">
      <dgm:prSet phldrT="[Text]" custT="1"/>
      <dgm:spPr/>
      <dgm:t>
        <a:bodyPr/>
        <a:lstStyle/>
        <a:p>
          <a:pPr marL="0"/>
          <a:r>
            <a:rPr lang="en-US" sz="1100" b="1"/>
            <a:t>2. Broken Authentication &amp; Session Management</a:t>
          </a:r>
          <a:endParaRPr lang="en-US" sz="1000" b="1"/>
        </a:p>
      </dgm:t>
    </dgm:pt>
    <dgm:pt modelId="{B92DD156-B058-DD43-8CF4-C9168B021E24}" type="parTrans" cxnId="{EAD06096-E6C4-294A-8E4A-80385E363857}">
      <dgm:prSet/>
      <dgm:spPr/>
      <dgm:t>
        <a:bodyPr/>
        <a:lstStyle/>
        <a:p>
          <a:endParaRPr lang="en-US"/>
        </a:p>
      </dgm:t>
    </dgm:pt>
    <dgm:pt modelId="{B73BFCD7-ABF6-A443-8F85-5E901FA5111E}" type="sibTrans" cxnId="{EAD06096-E6C4-294A-8E4A-80385E363857}">
      <dgm:prSet/>
      <dgm:spPr/>
      <dgm:t>
        <a:bodyPr/>
        <a:lstStyle/>
        <a:p>
          <a:endParaRPr lang="en-US"/>
        </a:p>
      </dgm:t>
    </dgm:pt>
    <dgm:pt modelId="{CF84F772-DB15-FE40-80D7-C4DBBF6A47F8}">
      <dgm:prSet phldrT="[Text]" custT="1"/>
      <dgm:spPr/>
      <dgm:t>
        <a:bodyPr/>
        <a:lstStyle/>
        <a:p>
          <a:pPr marL="134938" indent="-125413" algn="just">
            <a:buClr>
              <a:schemeClr val="accent6"/>
            </a:buClr>
            <a:buSzPts val="900"/>
            <a:buFont typeface="Arial"/>
            <a:buChar char="►"/>
            <a:tabLst/>
          </a:pPr>
          <a:r>
            <a:rPr lang="en-US" sz="1100"/>
            <a:t>Application functions related to authentication and session management are often implemented incorrectly, allowing attackers to compromise passwords, keys, or session tokens, or to exploit other implementation flaws to assume other users’ identities temporarily or permanently. </a:t>
          </a:r>
        </a:p>
      </dgm:t>
    </dgm:pt>
    <dgm:pt modelId="{9FDA3664-3979-6A48-8B7F-83BEB50B6997}" type="parTrans" cxnId="{46CB7B6F-FAB2-8146-A5EB-5AE617EE4BF0}">
      <dgm:prSet/>
      <dgm:spPr/>
      <dgm:t>
        <a:bodyPr/>
        <a:lstStyle/>
        <a:p>
          <a:endParaRPr lang="en-US"/>
        </a:p>
      </dgm:t>
    </dgm:pt>
    <dgm:pt modelId="{28F0C438-005D-814D-8DC1-635925E65F9E}" type="sibTrans" cxnId="{46CB7B6F-FAB2-8146-A5EB-5AE617EE4BF0}">
      <dgm:prSet/>
      <dgm:spPr/>
      <dgm:t>
        <a:bodyPr/>
        <a:lstStyle/>
        <a:p>
          <a:endParaRPr lang="en-US"/>
        </a:p>
      </dgm:t>
    </dgm:pt>
    <dgm:pt modelId="{CF3FBD72-A594-2C4E-BE33-99935BF99FF5}">
      <dgm:prSet phldrT="[Text]" custT="1"/>
      <dgm:spPr/>
      <dgm:t>
        <a:bodyPr/>
        <a:lstStyle/>
        <a:p>
          <a:pPr>
            <a:buClr>
              <a:srgbClr val="404040"/>
            </a:buClr>
            <a:buSzPct val="100000"/>
            <a:buNone/>
          </a:pPr>
          <a:r>
            <a:rPr lang="en-US" sz="1100" b="1"/>
            <a:t>3. Sensitive Data Exposure</a:t>
          </a:r>
          <a:endParaRPr lang="en-US" sz="1000" b="1"/>
        </a:p>
      </dgm:t>
    </dgm:pt>
    <dgm:pt modelId="{EE4EA52F-38A8-184F-865F-4DD339111F0E}" type="parTrans" cxnId="{521510FD-19B9-014E-8F47-D558A5A107F7}">
      <dgm:prSet/>
      <dgm:spPr/>
      <dgm:t>
        <a:bodyPr/>
        <a:lstStyle/>
        <a:p>
          <a:endParaRPr lang="en-US"/>
        </a:p>
      </dgm:t>
    </dgm:pt>
    <dgm:pt modelId="{B8D5CDD1-6CAB-DC4D-A9C3-342DB521D282}" type="sibTrans" cxnId="{521510FD-19B9-014E-8F47-D558A5A107F7}">
      <dgm:prSet/>
      <dgm:spPr/>
      <dgm:t>
        <a:bodyPr/>
        <a:lstStyle/>
        <a:p>
          <a:endParaRPr lang="en-US"/>
        </a:p>
      </dgm:t>
    </dgm:pt>
    <dgm:pt modelId="{7075185B-1445-5B46-A9D2-B8C72F3FDF28}">
      <dgm:prSet phldrT="[Text]" custT="1"/>
      <dgm:spPr/>
      <dgm:t>
        <a:bodyPr/>
        <a:lstStyle/>
        <a:p>
          <a:pPr algn="just">
            <a:buClr>
              <a:schemeClr val="accent6"/>
            </a:buClr>
            <a:buSzPts val="900"/>
            <a:buFont typeface="Arial"/>
            <a:buChar char="►"/>
          </a:pPr>
          <a:r>
            <a:rPr lang="en-US" sz="1100"/>
            <a:t>Many web applications and APIs do not properly protect sensitive data, such as financial, healthcare, and PII. Attackers may steal or modify such weakly protected data to conduct credit card fraud, identity theft, and other crimes. Sensitive data may be compromised without extra protection, such as encryption at rest or in transit, and requires special precautions when exchanged with the browser. </a:t>
          </a:r>
          <a:endParaRPr lang="en-US" sz="1050"/>
        </a:p>
      </dgm:t>
    </dgm:pt>
    <dgm:pt modelId="{321C6E15-5C7C-364B-8BD5-CE050DAB1B17}" type="parTrans" cxnId="{83125EF8-BB95-1944-AE7C-2268CA202F08}">
      <dgm:prSet/>
      <dgm:spPr/>
      <dgm:t>
        <a:bodyPr/>
        <a:lstStyle/>
        <a:p>
          <a:endParaRPr lang="en-US"/>
        </a:p>
      </dgm:t>
    </dgm:pt>
    <dgm:pt modelId="{6F36D3DE-2B75-8E4D-90EA-3C1A9B1168F4}" type="sibTrans" cxnId="{83125EF8-BB95-1944-AE7C-2268CA202F08}">
      <dgm:prSet/>
      <dgm:spPr/>
      <dgm:t>
        <a:bodyPr/>
        <a:lstStyle/>
        <a:p>
          <a:endParaRPr lang="en-US"/>
        </a:p>
      </dgm:t>
    </dgm:pt>
    <dgm:pt modelId="{B020A614-FF7A-E443-8E75-5C777A2A08A2}">
      <dgm:prSet custT="1"/>
      <dgm:spPr/>
      <dgm:t>
        <a:bodyPr/>
        <a:lstStyle/>
        <a:p>
          <a:pPr>
            <a:buClr>
              <a:srgbClr val="404040"/>
            </a:buClr>
            <a:buSzPct val="100000"/>
            <a:buNone/>
          </a:pPr>
          <a:r>
            <a:rPr lang="en-US" sz="1100" b="1"/>
            <a:t>4. XML External Entities (XXE)</a:t>
          </a:r>
          <a:endParaRPr lang="en-US" sz="1000" b="1"/>
        </a:p>
      </dgm:t>
    </dgm:pt>
    <dgm:pt modelId="{84C48B02-9189-204D-942A-D0D5E2003AC5}" type="parTrans" cxnId="{B8E8CC90-20CB-EA4A-80E0-912B3B014C0D}">
      <dgm:prSet/>
      <dgm:spPr/>
      <dgm:t>
        <a:bodyPr/>
        <a:lstStyle/>
        <a:p>
          <a:endParaRPr lang="en-US"/>
        </a:p>
      </dgm:t>
    </dgm:pt>
    <dgm:pt modelId="{7967F0D3-2AB2-C348-8186-BD72B3585F6A}" type="sibTrans" cxnId="{B8E8CC90-20CB-EA4A-80E0-912B3B014C0D}">
      <dgm:prSet/>
      <dgm:spPr/>
      <dgm:t>
        <a:bodyPr/>
        <a:lstStyle/>
        <a:p>
          <a:endParaRPr lang="en-US"/>
        </a:p>
      </dgm:t>
    </dgm:pt>
    <dgm:pt modelId="{1F35EB34-A8DE-164C-AC37-07506810C14F}">
      <dgm:prSet custT="1"/>
      <dgm:spPr/>
      <dgm:t>
        <a:bodyPr/>
        <a:lstStyle/>
        <a:p>
          <a:pPr>
            <a:buClr>
              <a:srgbClr val="404040"/>
            </a:buClr>
            <a:buSzPct val="100000"/>
            <a:buNone/>
          </a:pPr>
          <a:r>
            <a:rPr lang="en-US" sz="1100" b="1"/>
            <a:t>5. Broken Access Control</a:t>
          </a:r>
        </a:p>
      </dgm:t>
    </dgm:pt>
    <dgm:pt modelId="{929B14F6-4D78-D94C-B329-E4C39219D422}" type="parTrans" cxnId="{E3188087-01F7-B44A-94E1-AEC23BC0ED63}">
      <dgm:prSet/>
      <dgm:spPr/>
      <dgm:t>
        <a:bodyPr/>
        <a:lstStyle/>
        <a:p>
          <a:endParaRPr lang="en-US"/>
        </a:p>
      </dgm:t>
    </dgm:pt>
    <dgm:pt modelId="{B99EE6E6-4D9A-6A47-A3E7-529B7B70B2A7}" type="sibTrans" cxnId="{E3188087-01F7-B44A-94E1-AEC23BC0ED63}">
      <dgm:prSet/>
      <dgm:spPr/>
      <dgm:t>
        <a:bodyPr/>
        <a:lstStyle/>
        <a:p>
          <a:endParaRPr lang="en-US"/>
        </a:p>
      </dgm:t>
    </dgm:pt>
    <dgm:pt modelId="{B0073BD9-2EB9-8B43-9207-24B31CC4D486}">
      <dgm:prSet custT="1"/>
      <dgm:spPr/>
      <dgm:t>
        <a:bodyPr/>
        <a:lstStyle/>
        <a:p>
          <a:pPr algn="just">
            <a:buClr>
              <a:schemeClr val="accent6"/>
            </a:buClr>
            <a:buSzPts val="900"/>
            <a:buFont typeface="Arial"/>
            <a:buChar char="►"/>
          </a:pPr>
          <a:r>
            <a:rPr lang="en-US" sz="1100"/>
            <a:t>Many older or poorly configured XML processors evaluate external entity references within XML documents. External entities can be used to disclose internal files using the file URI handler, internal file shares, internal port scanning, remote code execution, and denial of service attacks. </a:t>
          </a:r>
        </a:p>
      </dgm:t>
    </dgm:pt>
    <dgm:pt modelId="{F0516307-1CDA-7248-9D6E-97094660BEBA}" type="parTrans" cxnId="{47839AD8-A0B4-4C42-820D-E313244060F8}">
      <dgm:prSet/>
      <dgm:spPr/>
      <dgm:t>
        <a:bodyPr/>
        <a:lstStyle/>
        <a:p>
          <a:endParaRPr lang="en-US"/>
        </a:p>
      </dgm:t>
    </dgm:pt>
    <dgm:pt modelId="{3B8CF022-F7D4-8142-BF65-E5E04BF129B6}" type="sibTrans" cxnId="{47839AD8-A0B4-4C42-820D-E313244060F8}">
      <dgm:prSet/>
      <dgm:spPr/>
      <dgm:t>
        <a:bodyPr/>
        <a:lstStyle/>
        <a:p>
          <a:endParaRPr lang="en-US"/>
        </a:p>
      </dgm:t>
    </dgm:pt>
    <dgm:pt modelId="{F24AAF78-FBAA-FA46-B89D-7C5683F5E645}">
      <dgm:prSet custT="1"/>
      <dgm:spPr/>
      <dgm:t>
        <a:bodyPr/>
        <a:lstStyle/>
        <a:p>
          <a:pPr algn="just">
            <a:buClr>
              <a:schemeClr val="accent6"/>
            </a:buClr>
            <a:buSzPts val="900"/>
            <a:buFont typeface="Arial"/>
            <a:buChar char="►"/>
          </a:pPr>
          <a:r>
            <a:rPr lang="en-US" sz="1100"/>
            <a:t>Restrictions on what authenticated users are allowed to do are often not properly enforced. Attackers can exploit these flaws to access unauthorized functionality and/or data, such as access other users' accounts, view sensitive files, modify other users’ data, change access rights, etc.</a:t>
          </a:r>
        </a:p>
      </dgm:t>
    </dgm:pt>
    <dgm:pt modelId="{ACB00FD3-D274-0B45-A16C-D4A12DFB5A89}" type="parTrans" cxnId="{5B073095-EC0F-184B-A28C-3955096357D2}">
      <dgm:prSet/>
      <dgm:spPr/>
      <dgm:t>
        <a:bodyPr/>
        <a:lstStyle/>
        <a:p>
          <a:endParaRPr lang="en-US"/>
        </a:p>
      </dgm:t>
    </dgm:pt>
    <dgm:pt modelId="{289363C2-4DF2-3C4B-A22D-2A8B8D8D88F2}" type="sibTrans" cxnId="{5B073095-EC0F-184B-A28C-3955096357D2}">
      <dgm:prSet/>
      <dgm:spPr/>
      <dgm:t>
        <a:bodyPr/>
        <a:lstStyle/>
        <a:p>
          <a:endParaRPr lang="en-US"/>
        </a:p>
      </dgm:t>
    </dgm:pt>
    <dgm:pt modelId="{3AD1150F-207F-BD43-9F6D-D5D6C310DBFA}" type="pres">
      <dgm:prSet presAssocID="{63322255-DF61-1745-9C3A-3FEDA6B61880}" presName="Name0" presStyleCnt="0">
        <dgm:presLayoutVars>
          <dgm:chMax val="7"/>
          <dgm:chPref val="7"/>
          <dgm:dir/>
        </dgm:presLayoutVars>
      </dgm:prSet>
      <dgm:spPr/>
    </dgm:pt>
    <dgm:pt modelId="{16E788E5-B1E3-F241-8582-AA90F71AF465}" type="pres">
      <dgm:prSet presAssocID="{63322255-DF61-1745-9C3A-3FEDA6B61880}" presName="Name1" presStyleCnt="0"/>
      <dgm:spPr/>
    </dgm:pt>
    <dgm:pt modelId="{E1CDB24A-FD82-4040-8931-61277575D40E}" type="pres">
      <dgm:prSet presAssocID="{63322255-DF61-1745-9C3A-3FEDA6B61880}" presName="cycle" presStyleCnt="0"/>
      <dgm:spPr/>
    </dgm:pt>
    <dgm:pt modelId="{9DA99C03-A1B0-6B40-9309-DB4D5B002026}" type="pres">
      <dgm:prSet presAssocID="{63322255-DF61-1745-9C3A-3FEDA6B61880}" presName="srcNode" presStyleLbl="node1" presStyleIdx="0" presStyleCnt="5"/>
      <dgm:spPr/>
    </dgm:pt>
    <dgm:pt modelId="{5348B5F1-4181-484D-97DF-A1059982319E}" type="pres">
      <dgm:prSet presAssocID="{63322255-DF61-1745-9C3A-3FEDA6B61880}" presName="conn" presStyleLbl="parChTrans1D2" presStyleIdx="0" presStyleCnt="1"/>
      <dgm:spPr/>
    </dgm:pt>
    <dgm:pt modelId="{54CD5CE7-6026-9241-8464-6F2EE7B5CBBF}" type="pres">
      <dgm:prSet presAssocID="{63322255-DF61-1745-9C3A-3FEDA6B61880}" presName="extraNode" presStyleLbl="node1" presStyleIdx="0" presStyleCnt="5"/>
      <dgm:spPr/>
    </dgm:pt>
    <dgm:pt modelId="{56F97629-2AD9-5348-A3CD-316C7845E047}" type="pres">
      <dgm:prSet presAssocID="{63322255-DF61-1745-9C3A-3FEDA6B61880}" presName="dstNode" presStyleLbl="node1" presStyleIdx="0" presStyleCnt="5"/>
      <dgm:spPr/>
    </dgm:pt>
    <dgm:pt modelId="{DFE06AE1-767E-624A-AB4E-5A10DDCB0E62}" type="pres">
      <dgm:prSet presAssocID="{603C9219-4058-1B47-B800-EEF344FABF51}" presName="text_1" presStyleLbl="node1" presStyleIdx="0" presStyleCnt="5">
        <dgm:presLayoutVars>
          <dgm:bulletEnabled val="1"/>
        </dgm:presLayoutVars>
      </dgm:prSet>
      <dgm:spPr/>
    </dgm:pt>
    <dgm:pt modelId="{C7C86832-B77E-CC4A-B8EB-B46B2474063D}" type="pres">
      <dgm:prSet presAssocID="{603C9219-4058-1B47-B800-EEF344FABF51}" presName="accent_1" presStyleCnt="0"/>
      <dgm:spPr/>
    </dgm:pt>
    <dgm:pt modelId="{E3AE2878-6229-0441-B393-15734D716D43}" type="pres">
      <dgm:prSet presAssocID="{603C9219-4058-1B47-B800-EEF344FABF51}" presName="accentRepeatNode" presStyleLbl="solidFgAcc1" presStyleIdx="0" presStyleCnt="5"/>
      <dgm:spPr>
        <a:solidFill>
          <a:schemeClr val="tx1">
            <a:lumMod val="50000"/>
            <a:lumOff val="50000"/>
          </a:schemeClr>
        </a:solidFill>
      </dgm:spPr>
    </dgm:pt>
    <dgm:pt modelId="{8CE72702-5823-CE45-A333-7FF2F8CC4DDD}" type="pres">
      <dgm:prSet presAssocID="{3F809109-4738-2D48-9C0F-AB19D1C8AC7C}" presName="text_2" presStyleLbl="node1" presStyleIdx="1" presStyleCnt="5" custScaleY="114435">
        <dgm:presLayoutVars>
          <dgm:bulletEnabled val="1"/>
        </dgm:presLayoutVars>
      </dgm:prSet>
      <dgm:spPr/>
    </dgm:pt>
    <dgm:pt modelId="{F88E9C45-A30C-3742-B2CD-22EF0870D347}" type="pres">
      <dgm:prSet presAssocID="{3F809109-4738-2D48-9C0F-AB19D1C8AC7C}" presName="accent_2" presStyleCnt="0"/>
      <dgm:spPr/>
    </dgm:pt>
    <dgm:pt modelId="{DC0C40A8-0757-1544-95F4-ABF1324A052D}" type="pres">
      <dgm:prSet presAssocID="{3F809109-4738-2D48-9C0F-AB19D1C8AC7C}" presName="accentRepeatNode" presStyleLbl="solidFgAcc1" presStyleIdx="1" presStyleCnt="5"/>
      <dgm:spPr>
        <a:solidFill>
          <a:schemeClr val="tx1">
            <a:lumMod val="50000"/>
            <a:lumOff val="50000"/>
          </a:schemeClr>
        </a:solidFill>
      </dgm:spPr>
    </dgm:pt>
    <dgm:pt modelId="{FC810055-A76C-A849-AB76-B9984EF56E99}" type="pres">
      <dgm:prSet presAssocID="{CF3FBD72-A594-2C4E-BE33-99935BF99FF5}" presName="text_3" presStyleLbl="node1" presStyleIdx="2" presStyleCnt="5" custScaleY="115364">
        <dgm:presLayoutVars>
          <dgm:bulletEnabled val="1"/>
        </dgm:presLayoutVars>
      </dgm:prSet>
      <dgm:spPr/>
    </dgm:pt>
    <dgm:pt modelId="{EAFF3A1C-A573-294B-BF5C-3AE53020264E}" type="pres">
      <dgm:prSet presAssocID="{CF3FBD72-A594-2C4E-BE33-99935BF99FF5}" presName="accent_3" presStyleCnt="0"/>
      <dgm:spPr/>
    </dgm:pt>
    <dgm:pt modelId="{EDE5AA83-E79B-6249-94F0-2EEF61C4AE9C}" type="pres">
      <dgm:prSet presAssocID="{CF3FBD72-A594-2C4E-BE33-99935BF99FF5}" presName="accentRepeatNode" presStyleLbl="solidFgAcc1" presStyleIdx="2" presStyleCnt="5"/>
      <dgm:spPr>
        <a:solidFill>
          <a:schemeClr val="tx1">
            <a:lumMod val="50000"/>
            <a:lumOff val="50000"/>
          </a:schemeClr>
        </a:solidFill>
      </dgm:spPr>
    </dgm:pt>
    <dgm:pt modelId="{881F34CF-9AFB-D044-94F0-6E519FC8A228}" type="pres">
      <dgm:prSet presAssocID="{B020A614-FF7A-E443-8E75-5C777A2A08A2}" presName="text_4" presStyleLbl="node1" presStyleIdx="3" presStyleCnt="5" custScaleY="121485">
        <dgm:presLayoutVars>
          <dgm:bulletEnabled val="1"/>
        </dgm:presLayoutVars>
      </dgm:prSet>
      <dgm:spPr/>
    </dgm:pt>
    <dgm:pt modelId="{3A0D63D9-BC8C-5B4D-9F71-DE088B544536}" type="pres">
      <dgm:prSet presAssocID="{B020A614-FF7A-E443-8E75-5C777A2A08A2}" presName="accent_4" presStyleCnt="0"/>
      <dgm:spPr/>
    </dgm:pt>
    <dgm:pt modelId="{2F3E8387-38C3-D549-B9D3-B2B43610CB07}" type="pres">
      <dgm:prSet presAssocID="{B020A614-FF7A-E443-8E75-5C777A2A08A2}" presName="accentRepeatNode" presStyleLbl="solidFgAcc1" presStyleIdx="3" presStyleCnt="5"/>
      <dgm:spPr>
        <a:solidFill>
          <a:schemeClr val="tx1">
            <a:lumMod val="50000"/>
            <a:lumOff val="50000"/>
          </a:schemeClr>
        </a:solidFill>
      </dgm:spPr>
    </dgm:pt>
    <dgm:pt modelId="{3751B8D0-70E9-D741-9C58-528213264916}" type="pres">
      <dgm:prSet presAssocID="{1F35EB34-A8DE-164C-AC37-07506810C14F}" presName="text_5" presStyleLbl="node1" presStyleIdx="4" presStyleCnt="5">
        <dgm:presLayoutVars>
          <dgm:bulletEnabled val="1"/>
        </dgm:presLayoutVars>
      </dgm:prSet>
      <dgm:spPr/>
    </dgm:pt>
    <dgm:pt modelId="{77C7578E-4A65-5F49-93B0-6EE4896CF3F0}" type="pres">
      <dgm:prSet presAssocID="{1F35EB34-A8DE-164C-AC37-07506810C14F}" presName="accent_5" presStyleCnt="0"/>
      <dgm:spPr/>
    </dgm:pt>
    <dgm:pt modelId="{E18C93D3-3D15-4A43-B367-F8768440F9F7}" type="pres">
      <dgm:prSet presAssocID="{1F35EB34-A8DE-164C-AC37-07506810C14F}" presName="accentRepeatNode" presStyleLbl="solidFgAcc1" presStyleIdx="4" presStyleCnt="5"/>
      <dgm:spPr>
        <a:solidFill>
          <a:schemeClr val="tx1">
            <a:lumMod val="50000"/>
            <a:lumOff val="50000"/>
          </a:schemeClr>
        </a:solidFill>
      </dgm:spPr>
    </dgm:pt>
  </dgm:ptLst>
  <dgm:cxnLst>
    <dgm:cxn modelId="{05899606-0CD9-874D-9512-98EA7D7630CD}" type="presOf" srcId="{B0073BD9-2EB9-8B43-9207-24B31CC4D486}" destId="{881F34CF-9AFB-D044-94F0-6E519FC8A228}" srcOrd="0" destOrd="1" presId="urn:microsoft.com/office/officeart/2008/layout/VerticalCurvedList"/>
    <dgm:cxn modelId="{55F70C23-6500-F64B-B1AB-6A7C37409CD7}" srcId="{603C9219-4058-1B47-B800-EEF344FABF51}" destId="{3227356C-B2E5-A04B-BE17-5A958DB2CDC4}" srcOrd="0" destOrd="0" parTransId="{B8A769C5-E68A-B74B-8155-F1127E3932DE}" sibTransId="{18333C87-7E67-D546-A405-30609C2669F1}"/>
    <dgm:cxn modelId="{6D98233D-AAA2-344F-B4D9-A809C2C1E01F}" srcId="{63322255-DF61-1745-9C3A-3FEDA6B61880}" destId="{603C9219-4058-1B47-B800-EEF344FABF51}" srcOrd="0" destOrd="0" parTransId="{C129AD8D-844B-DB45-8C4C-77C7E335BAED}" sibTransId="{7F105B72-973B-FB4C-B96F-3F0316A0C910}"/>
    <dgm:cxn modelId="{771F225B-32EA-8042-8EC6-2BDAF52CC5F0}" type="presOf" srcId="{CF84F772-DB15-FE40-80D7-C4DBBF6A47F8}" destId="{8CE72702-5823-CE45-A333-7FF2F8CC4DDD}" srcOrd="0" destOrd="1" presId="urn:microsoft.com/office/officeart/2008/layout/VerticalCurvedList"/>
    <dgm:cxn modelId="{2A57FA60-7E52-5344-A0FB-B23266EAEFA0}" type="presOf" srcId="{18333C87-7E67-D546-A405-30609C2669F1}" destId="{5348B5F1-4181-484D-97DF-A1059982319E}" srcOrd="0" destOrd="0" presId="urn:microsoft.com/office/officeart/2008/layout/VerticalCurvedList"/>
    <dgm:cxn modelId="{6FEB2E4D-0A9D-0741-904A-90F0A6DDE6AE}" type="presOf" srcId="{7075185B-1445-5B46-A9D2-B8C72F3FDF28}" destId="{FC810055-A76C-A849-AB76-B9984EF56E99}" srcOrd="0" destOrd="1" presId="urn:microsoft.com/office/officeart/2008/layout/VerticalCurvedList"/>
    <dgm:cxn modelId="{46CB7B6F-FAB2-8146-A5EB-5AE617EE4BF0}" srcId="{3F809109-4738-2D48-9C0F-AB19D1C8AC7C}" destId="{CF84F772-DB15-FE40-80D7-C4DBBF6A47F8}" srcOrd="0" destOrd="0" parTransId="{9FDA3664-3979-6A48-8B7F-83BEB50B6997}" sibTransId="{28F0C438-005D-814D-8DC1-635925E65F9E}"/>
    <dgm:cxn modelId="{DE560C51-A8DB-A648-A905-66737A4D4009}" type="presOf" srcId="{CF3FBD72-A594-2C4E-BE33-99935BF99FF5}" destId="{FC810055-A76C-A849-AB76-B9984EF56E99}" srcOrd="0" destOrd="0" presId="urn:microsoft.com/office/officeart/2008/layout/VerticalCurvedList"/>
    <dgm:cxn modelId="{19F3D253-136C-D145-AC92-FFB661A6A0A1}" type="presOf" srcId="{B020A614-FF7A-E443-8E75-5C777A2A08A2}" destId="{881F34CF-9AFB-D044-94F0-6E519FC8A228}" srcOrd="0" destOrd="0" presId="urn:microsoft.com/office/officeart/2008/layout/VerticalCurvedList"/>
    <dgm:cxn modelId="{9BA6DF58-563A-0141-B92F-1F812A9DDE45}" type="presOf" srcId="{1F35EB34-A8DE-164C-AC37-07506810C14F}" destId="{3751B8D0-70E9-D741-9C58-528213264916}" srcOrd="0" destOrd="0" presId="urn:microsoft.com/office/officeart/2008/layout/VerticalCurvedList"/>
    <dgm:cxn modelId="{38682B5A-D8D8-CB4C-A659-7ADF7E1337F5}" type="presOf" srcId="{3F809109-4738-2D48-9C0F-AB19D1C8AC7C}" destId="{8CE72702-5823-CE45-A333-7FF2F8CC4DDD}" srcOrd="0" destOrd="0" presId="urn:microsoft.com/office/officeart/2008/layout/VerticalCurvedList"/>
    <dgm:cxn modelId="{E3188087-01F7-B44A-94E1-AEC23BC0ED63}" srcId="{63322255-DF61-1745-9C3A-3FEDA6B61880}" destId="{1F35EB34-A8DE-164C-AC37-07506810C14F}" srcOrd="4" destOrd="0" parTransId="{929B14F6-4D78-D94C-B329-E4C39219D422}" sibTransId="{B99EE6E6-4D9A-6A47-A3E7-529B7B70B2A7}"/>
    <dgm:cxn modelId="{B8E8CC90-20CB-EA4A-80E0-912B3B014C0D}" srcId="{63322255-DF61-1745-9C3A-3FEDA6B61880}" destId="{B020A614-FF7A-E443-8E75-5C777A2A08A2}" srcOrd="3" destOrd="0" parTransId="{84C48B02-9189-204D-942A-D0D5E2003AC5}" sibTransId="{7967F0D3-2AB2-C348-8186-BD72B3585F6A}"/>
    <dgm:cxn modelId="{5B073095-EC0F-184B-A28C-3955096357D2}" srcId="{1F35EB34-A8DE-164C-AC37-07506810C14F}" destId="{F24AAF78-FBAA-FA46-B89D-7C5683F5E645}" srcOrd="0" destOrd="0" parTransId="{ACB00FD3-D274-0B45-A16C-D4A12DFB5A89}" sibTransId="{289363C2-4DF2-3C4B-A22D-2A8B8D8D88F2}"/>
    <dgm:cxn modelId="{EAD06096-E6C4-294A-8E4A-80385E363857}" srcId="{63322255-DF61-1745-9C3A-3FEDA6B61880}" destId="{3F809109-4738-2D48-9C0F-AB19D1C8AC7C}" srcOrd="1" destOrd="0" parTransId="{B92DD156-B058-DD43-8CF4-C9168B021E24}" sibTransId="{B73BFCD7-ABF6-A443-8F85-5E901FA5111E}"/>
    <dgm:cxn modelId="{22A8909D-8A72-0140-BBDB-A2C723398693}" type="presOf" srcId="{63322255-DF61-1745-9C3A-3FEDA6B61880}" destId="{3AD1150F-207F-BD43-9F6D-D5D6C310DBFA}" srcOrd="0" destOrd="0" presId="urn:microsoft.com/office/officeart/2008/layout/VerticalCurvedList"/>
    <dgm:cxn modelId="{47839AD8-A0B4-4C42-820D-E313244060F8}" srcId="{B020A614-FF7A-E443-8E75-5C777A2A08A2}" destId="{B0073BD9-2EB9-8B43-9207-24B31CC4D486}" srcOrd="0" destOrd="0" parTransId="{F0516307-1CDA-7248-9D6E-97094660BEBA}" sibTransId="{3B8CF022-F7D4-8142-BF65-E5E04BF129B6}"/>
    <dgm:cxn modelId="{E6145EE2-44DD-5D41-B164-659B43050353}" type="presOf" srcId="{3227356C-B2E5-A04B-BE17-5A958DB2CDC4}" destId="{DFE06AE1-767E-624A-AB4E-5A10DDCB0E62}" srcOrd="0" destOrd="1" presId="urn:microsoft.com/office/officeart/2008/layout/VerticalCurvedList"/>
    <dgm:cxn modelId="{6DAD67F0-0ECD-1847-858E-D301151DDB71}" type="presOf" srcId="{603C9219-4058-1B47-B800-EEF344FABF51}" destId="{DFE06AE1-767E-624A-AB4E-5A10DDCB0E62}" srcOrd="0" destOrd="0" presId="urn:microsoft.com/office/officeart/2008/layout/VerticalCurvedList"/>
    <dgm:cxn modelId="{83125EF8-BB95-1944-AE7C-2268CA202F08}" srcId="{CF3FBD72-A594-2C4E-BE33-99935BF99FF5}" destId="{7075185B-1445-5B46-A9D2-B8C72F3FDF28}" srcOrd="0" destOrd="0" parTransId="{321C6E15-5C7C-364B-8BD5-CE050DAB1B17}" sibTransId="{6F36D3DE-2B75-8E4D-90EA-3C1A9B1168F4}"/>
    <dgm:cxn modelId="{6EE1F2FA-9349-4D46-AD15-60628601E3CB}" type="presOf" srcId="{F24AAF78-FBAA-FA46-B89D-7C5683F5E645}" destId="{3751B8D0-70E9-D741-9C58-528213264916}" srcOrd="0" destOrd="1" presId="urn:microsoft.com/office/officeart/2008/layout/VerticalCurvedList"/>
    <dgm:cxn modelId="{521510FD-19B9-014E-8F47-D558A5A107F7}" srcId="{63322255-DF61-1745-9C3A-3FEDA6B61880}" destId="{CF3FBD72-A594-2C4E-BE33-99935BF99FF5}" srcOrd="2" destOrd="0" parTransId="{EE4EA52F-38A8-184F-865F-4DD339111F0E}" sibTransId="{B8D5CDD1-6CAB-DC4D-A9C3-342DB521D282}"/>
    <dgm:cxn modelId="{2882D644-F76B-7845-9A0B-3AC78C516380}" type="presParOf" srcId="{3AD1150F-207F-BD43-9F6D-D5D6C310DBFA}" destId="{16E788E5-B1E3-F241-8582-AA90F71AF465}" srcOrd="0" destOrd="0" presId="urn:microsoft.com/office/officeart/2008/layout/VerticalCurvedList"/>
    <dgm:cxn modelId="{42943783-4CB3-F340-8AA2-9977BAA2F5B5}" type="presParOf" srcId="{16E788E5-B1E3-F241-8582-AA90F71AF465}" destId="{E1CDB24A-FD82-4040-8931-61277575D40E}" srcOrd="0" destOrd="0" presId="urn:microsoft.com/office/officeart/2008/layout/VerticalCurvedList"/>
    <dgm:cxn modelId="{68E94F4F-AB15-6140-9B16-D7716532CA6C}" type="presParOf" srcId="{E1CDB24A-FD82-4040-8931-61277575D40E}" destId="{9DA99C03-A1B0-6B40-9309-DB4D5B002026}" srcOrd="0" destOrd="0" presId="urn:microsoft.com/office/officeart/2008/layout/VerticalCurvedList"/>
    <dgm:cxn modelId="{41A55203-5013-0345-B123-5C7F59D2BE58}" type="presParOf" srcId="{E1CDB24A-FD82-4040-8931-61277575D40E}" destId="{5348B5F1-4181-484D-97DF-A1059982319E}" srcOrd="1" destOrd="0" presId="urn:microsoft.com/office/officeart/2008/layout/VerticalCurvedList"/>
    <dgm:cxn modelId="{2EAC063B-BEC0-F148-8CB2-189DA0D6ED70}" type="presParOf" srcId="{E1CDB24A-FD82-4040-8931-61277575D40E}" destId="{54CD5CE7-6026-9241-8464-6F2EE7B5CBBF}" srcOrd="2" destOrd="0" presId="urn:microsoft.com/office/officeart/2008/layout/VerticalCurvedList"/>
    <dgm:cxn modelId="{04E929D4-A46E-F44D-8060-11029A6FDDE3}" type="presParOf" srcId="{E1CDB24A-FD82-4040-8931-61277575D40E}" destId="{56F97629-2AD9-5348-A3CD-316C7845E047}" srcOrd="3" destOrd="0" presId="urn:microsoft.com/office/officeart/2008/layout/VerticalCurvedList"/>
    <dgm:cxn modelId="{9C6BE85D-65D7-AB4D-BD7D-AA05313BC35D}" type="presParOf" srcId="{16E788E5-B1E3-F241-8582-AA90F71AF465}" destId="{DFE06AE1-767E-624A-AB4E-5A10DDCB0E62}" srcOrd="1" destOrd="0" presId="urn:microsoft.com/office/officeart/2008/layout/VerticalCurvedList"/>
    <dgm:cxn modelId="{4582CDE3-9513-364B-9D3A-EAC1A3144E44}" type="presParOf" srcId="{16E788E5-B1E3-F241-8582-AA90F71AF465}" destId="{C7C86832-B77E-CC4A-B8EB-B46B2474063D}" srcOrd="2" destOrd="0" presId="urn:microsoft.com/office/officeart/2008/layout/VerticalCurvedList"/>
    <dgm:cxn modelId="{011596BE-D1FA-3641-87B3-3FBFEE137236}" type="presParOf" srcId="{C7C86832-B77E-CC4A-B8EB-B46B2474063D}" destId="{E3AE2878-6229-0441-B393-15734D716D43}" srcOrd="0" destOrd="0" presId="urn:microsoft.com/office/officeart/2008/layout/VerticalCurvedList"/>
    <dgm:cxn modelId="{5FD47FB3-7E9E-1846-946A-A92E62C64576}" type="presParOf" srcId="{16E788E5-B1E3-F241-8582-AA90F71AF465}" destId="{8CE72702-5823-CE45-A333-7FF2F8CC4DDD}" srcOrd="3" destOrd="0" presId="urn:microsoft.com/office/officeart/2008/layout/VerticalCurvedList"/>
    <dgm:cxn modelId="{74BF0A44-A78B-F648-954E-0A27165AD51E}" type="presParOf" srcId="{16E788E5-B1E3-F241-8582-AA90F71AF465}" destId="{F88E9C45-A30C-3742-B2CD-22EF0870D347}" srcOrd="4" destOrd="0" presId="urn:microsoft.com/office/officeart/2008/layout/VerticalCurvedList"/>
    <dgm:cxn modelId="{534D0D7A-4348-994B-9ED9-3DA0BC19FF2F}" type="presParOf" srcId="{F88E9C45-A30C-3742-B2CD-22EF0870D347}" destId="{DC0C40A8-0757-1544-95F4-ABF1324A052D}" srcOrd="0" destOrd="0" presId="urn:microsoft.com/office/officeart/2008/layout/VerticalCurvedList"/>
    <dgm:cxn modelId="{6A0AAB5E-37E8-D648-8C70-FB11EAB180B9}" type="presParOf" srcId="{16E788E5-B1E3-F241-8582-AA90F71AF465}" destId="{FC810055-A76C-A849-AB76-B9984EF56E99}" srcOrd="5" destOrd="0" presId="urn:microsoft.com/office/officeart/2008/layout/VerticalCurvedList"/>
    <dgm:cxn modelId="{27CEADF0-48F3-AC42-B236-D177F39991D0}" type="presParOf" srcId="{16E788E5-B1E3-F241-8582-AA90F71AF465}" destId="{EAFF3A1C-A573-294B-BF5C-3AE53020264E}" srcOrd="6" destOrd="0" presId="urn:microsoft.com/office/officeart/2008/layout/VerticalCurvedList"/>
    <dgm:cxn modelId="{53776FE6-E196-7445-B31E-8731E717F9BC}" type="presParOf" srcId="{EAFF3A1C-A573-294B-BF5C-3AE53020264E}" destId="{EDE5AA83-E79B-6249-94F0-2EEF61C4AE9C}" srcOrd="0" destOrd="0" presId="urn:microsoft.com/office/officeart/2008/layout/VerticalCurvedList"/>
    <dgm:cxn modelId="{F99C591C-7F70-004F-A907-A0FF4705D418}" type="presParOf" srcId="{16E788E5-B1E3-F241-8582-AA90F71AF465}" destId="{881F34CF-9AFB-D044-94F0-6E519FC8A228}" srcOrd="7" destOrd="0" presId="urn:microsoft.com/office/officeart/2008/layout/VerticalCurvedList"/>
    <dgm:cxn modelId="{2DF7AD76-6882-064C-A905-55571E4435BE}" type="presParOf" srcId="{16E788E5-B1E3-F241-8582-AA90F71AF465}" destId="{3A0D63D9-BC8C-5B4D-9F71-DE088B544536}" srcOrd="8" destOrd="0" presId="urn:microsoft.com/office/officeart/2008/layout/VerticalCurvedList"/>
    <dgm:cxn modelId="{D64F709C-CE9B-2C4D-B917-D03082B51524}" type="presParOf" srcId="{3A0D63D9-BC8C-5B4D-9F71-DE088B544536}" destId="{2F3E8387-38C3-D549-B9D3-B2B43610CB07}" srcOrd="0" destOrd="0" presId="urn:microsoft.com/office/officeart/2008/layout/VerticalCurvedList"/>
    <dgm:cxn modelId="{22402987-ECC0-E144-B19C-E23928504420}" type="presParOf" srcId="{16E788E5-B1E3-F241-8582-AA90F71AF465}" destId="{3751B8D0-70E9-D741-9C58-528213264916}" srcOrd="9" destOrd="0" presId="urn:microsoft.com/office/officeart/2008/layout/VerticalCurvedList"/>
    <dgm:cxn modelId="{E303C15E-AA5A-D24E-8F55-4953E092F6BE}" type="presParOf" srcId="{16E788E5-B1E3-F241-8582-AA90F71AF465}" destId="{77C7578E-4A65-5F49-93B0-6EE4896CF3F0}" srcOrd="10" destOrd="0" presId="urn:microsoft.com/office/officeart/2008/layout/VerticalCurvedList"/>
    <dgm:cxn modelId="{AAEEEBB7-6A03-B348-B79A-34377903D4A9}" type="presParOf" srcId="{77C7578E-4A65-5F49-93B0-6EE4896CF3F0}" destId="{E18C93D3-3D15-4A43-B367-F8768440F9F7}" srcOrd="0" destOrd="0" presId="urn:microsoft.com/office/officeart/2008/layout/VerticalCurvedList"/>
  </dgm:cxnLst>
  <dgm:bg/>
  <dgm:whole>
    <a:ln>
      <a:noFill/>
    </a:ln>
  </dgm:whole>
  <dgm:extLst>
    <a:ext uri="http://schemas.microsoft.com/office/drawing/2008/diagram">
      <dsp:dataModelExt xmlns:dsp="http://schemas.microsoft.com/office/drawing/2008/diagram" relId="rId10"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6BA2FA3-BEF5-4AB0-A250-81C635C22268}" type="doc">
      <dgm:prSet loTypeId="urn:microsoft.com/office/officeart/2005/8/layout/radial5" loCatId="relationship" qsTypeId="urn:microsoft.com/office/officeart/2005/8/quickstyle/simple2" qsCatId="simple" csTypeId="urn:microsoft.com/office/officeart/2005/8/colors/colorful1" csCatId="colorful" phldr="1"/>
      <dgm:spPr/>
      <dgm:t>
        <a:bodyPr/>
        <a:lstStyle/>
        <a:p>
          <a:endParaRPr lang="en-US"/>
        </a:p>
      </dgm:t>
    </dgm:pt>
    <dgm:pt modelId="{878D0A76-DDEB-4B48-897A-9545C1324A4D}">
      <dgm:prSet phldrT="[Text]" custT="1"/>
      <dgm:spPr>
        <a:xfrm>
          <a:off x="2369256" y="1907391"/>
          <a:ext cx="1366788" cy="1366788"/>
        </a:xfrm>
        <a:solidFill>
          <a:srgbClr val="4F81B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Mobile Penetration Test</a:t>
          </a:r>
        </a:p>
      </dgm:t>
    </dgm:pt>
    <dgm:pt modelId="{CF19F644-FFF5-4A96-9450-AE3147937A10}" type="parTrans" cxnId="{284F4A2E-B9CD-4706-B521-DF7AC66CD9F6}">
      <dgm:prSet/>
      <dgm:spPr/>
      <dgm:t>
        <a:bodyPr/>
        <a:lstStyle/>
        <a:p>
          <a:endParaRPr lang="en-US" sz="1200" b="0">
            <a:solidFill>
              <a:srgbClr val="000000"/>
            </a:solidFill>
            <a:latin typeface="+mj-lt"/>
          </a:endParaRPr>
        </a:p>
      </dgm:t>
    </dgm:pt>
    <dgm:pt modelId="{F3003843-BC95-4DC2-8FD1-677594A88838}" type="sibTrans" cxnId="{284F4A2E-B9CD-4706-B521-DF7AC66CD9F6}">
      <dgm:prSet/>
      <dgm:spPr/>
      <dgm:t>
        <a:bodyPr/>
        <a:lstStyle/>
        <a:p>
          <a:endParaRPr lang="en-US" sz="1200" b="0">
            <a:solidFill>
              <a:srgbClr val="000000"/>
            </a:solidFill>
            <a:latin typeface="+mj-lt"/>
          </a:endParaRPr>
        </a:p>
      </dgm:t>
    </dgm:pt>
    <dgm:pt modelId="{BAD37EF4-6E1F-4D6B-9233-DFDEEB45F82E}">
      <dgm:prSet phldrT="[Text]" custT="1"/>
      <dgm:spPr>
        <a:xfrm>
          <a:off x="2559449" y="20806"/>
          <a:ext cx="986401" cy="986401"/>
        </a:xfrm>
        <a:solidFill>
          <a:srgbClr val="C0504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mproper Platform Usage </a:t>
          </a:r>
        </a:p>
      </dgm:t>
    </dgm:pt>
    <dgm:pt modelId="{B986C639-E8C8-4BAC-AAAD-93674C9350CC}" type="parTrans" cxnId="{86E07AFF-E2A1-499D-B360-D1206C93F3A2}">
      <dgm:prSet custT="1"/>
      <dgm:spPr>
        <a:xfrm rot="16200000">
          <a:off x="2814101" y="1261374"/>
          <a:ext cx="477097" cy="418856"/>
        </a:xfrm>
        <a:solidFill>
          <a:srgbClr val="C0504D">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315730BC-CA59-4721-A9F0-7AC2CDD79BA5}" type="sibTrans" cxnId="{86E07AFF-E2A1-499D-B360-D1206C93F3A2}">
      <dgm:prSet/>
      <dgm:spPr/>
      <dgm:t>
        <a:bodyPr/>
        <a:lstStyle/>
        <a:p>
          <a:endParaRPr lang="en-US" sz="1200" b="0"/>
        </a:p>
      </dgm:t>
    </dgm:pt>
    <dgm:pt modelId="{80DEF943-A3EB-497A-93EF-9AD7BACBA9C6}">
      <dgm:prSet custT="1"/>
      <dgm:spPr>
        <a:xfrm>
          <a:off x="3780150" y="417436"/>
          <a:ext cx="986401" cy="986401"/>
        </a:xfrm>
        <a:solidFill>
          <a:srgbClr val="9BBB59">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Data Storage</a:t>
          </a:r>
        </a:p>
      </dgm:t>
    </dgm:pt>
    <dgm:pt modelId="{1A7A7054-7577-4C2E-BDAD-F5D060C54A62}" type="parTrans" cxnId="{AB1D6CE7-4278-4C83-83FD-ACCF2C3C6D0B}">
      <dgm:prSet custT="1"/>
      <dgm:spPr>
        <a:xfrm rot="18360000">
          <a:off x="3472411" y="1475272"/>
          <a:ext cx="477097" cy="418856"/>
        </a:xfrm>
        <a:solidFill>
          <a:srgbClr val="9BBB59">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905425F9-3A84-486D-9DAA-B5D941412243}" type="sibTrans" cxnId="{AB1D6CE7-4278-4C83-83FD-ACCF2C3C6D0B}">
      <dgm:prSet/>
      <dgm:spPr/>
      <dgm:t>
        <a:bodyPr/>
        <a:lstStyle/>
        <a:p>
          <a:endParaRPr lang="en-US" sz="1200" b="0"/>
        </a:p>
      </dgm:t>
    </dgm:pt>
    <dgm:pt modelId="{CCE7ECFA-49BE-400C-ACB3-DC0FD0997C03}">
      <dgm:prSet custT="1"/>
      <dgm:spPr>
        <a:xfrm>
          <a:off x="4535013" y="1456254"/>
          <a:ext cx="985543" cy="985543"/>
        </a:xfrm>
        <a:solidFill>
          <a:srgbClr val="8064A2">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Communication</a:t>
          </a:r>
        </a:p>
      </dgm:t>
    </dgm:pt>
    <dgm:pt modelId="{62105905-2E36-4700-8564-07268D90A657}" type="parTrans" cxnId="{18E26DCC-0F37-4154-989F-9C09B1D7A33C}">
      <dgm:prSet custT="1"/>
      <dgm:spPr>
        <a:xfrm rot="20520000">
          <a:off x="3879353" y="2035200"/>
          <a:ext cx="477324" cy="418856"/>
        </a:xfrm>
        <a:solidFill>
          <a:srgbClr val="8064A2">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45175CD6-5C51-4F53-936D-44B21E56BABA}" type="sibTrans" cxnId="{18E26DCC-0F37-4154-989F-9C09B1D7A33C}">
      <dgm:prSet/>
      <dgm:spPr/>
      <dgm:t>
        <a:bodyPr/>
        <a:lstStyle/>
        <a:p>
          <a:endParaRPr lang="en-US" sz="1200" b="0"/>
        </a:p>
      </dgm:t>
    </dgm:pt>
    <dgm:pt modelId="{3DE9218B-0A87-433F-914D-E7796E3A31C0}">
      <dgm:prSet custT="1"/>
      <dgm:spPr>
        <a:xfrm>
          <a:off x="4535013" y="2739774"/>
          <a:ext cx="985543" cy="985543"/>
        </a:xfrm>
        <a:solidFill>
          <a:srgbClr val="4BACC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Authentication</a:t>
          </a:r>
        </a:p>
      </dgm:t>
    </dgm:pt>
    <dgm:pt modelId="{617500E7-845B-4E22-A788-64D727A2D292}" type="parTrans" cxnId="{80756998-0892-4E91-BCEC-822799B8439A}">
      <dgm:prSet custT="1"/>
      <dgm:spPr>
        <a:xfrm rot="1080000">
          <a:off x="3879353" y="2727516"/>
          <a:ext cx="477324" cy="418856"/>
        </a:xfrm>
        <a:solidFill>
          <a:srgbClr val="4BACC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8E37374A-79C9-49B1-BB66-A4BB0BDFA6A1}" type="sibTrans" cxnId="{80756998-0892-4E91-BCEC-822799B8439A}">
      <dgm:prSet/>
      <dgm:spPr/>
      <dgm:t>
        <a:bodyPr/>
        <a:lstStyle/>
        <a:p>
          <a:endParaRPr lang="en-US" sz="1200" b="0"/>
        </a:p>
      </dgm:t>
    </dgm:pt>
    <dgm:pt modelId="{C46E9E96-222B-4311-A715-4AC50133B381}">
      <dgm:prSet custT="1"/>
      <dgm:spPr>
        <a:xfrm>
          <a:off x="3780578" y="3778164"/>
          <a:ext cx="985543" cy="985543"/>
        </a:xfrm>
        <a:solidFill>
          <a:srgbClr val="F7964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ufficient Cryptography</a:t>
          </a:r>
        </a:p>
      </dgm:t>
    </dgm:pt>
    <dgm:pt modelId="{FE6D72A1-C46A-46C5-AA3F-5200F8ABA360}" type="parTrans" cxnId="{21C8ED5A-B901-4D87-8FB6-E4F677BDEEDA}">
      <dgm:prSet custT="1"/>
      <dgm:spPr>
        <a:xfrm rot="3240000">
          <a:off x="3472420" y="3287612"/>
          <a:ext cx="477324" cy="418856"/>
        </a:xfrm>
        <a:solidFill>
          <a:srgbClr val="F7964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9F290A54-6FDF-4460-83DA-85B1119F7BDD}" type="sibTrans" cxnId="{21C8ED5A-B901-4D87-8FB6-E4F677BDEEDA}">
      <dgm:prSet/>
      <dgm:spPr/>
      <dgm:t>
        <a:bodyPr/>
        <a:lstStyle/>
        <a:p>
          <a:endParaRPr lang="en-US" sz="1200" b="0"/>
        </a:p>
      </dgm:t>
    </dgm:pt>
    <dgm:pt modelId="{0D97AA74-17E3-441B-B477-3C5F1D3B38E7}">
      <dgm:prSet custT="1"/>
      <dgm:spPr>
        <a:xfrm>
          <a:off x="2559878" y="4174793"/>
          <a:ext cx="985543" cy="985543"/>
        </a:xfrm>
        <a:solidFill>
          <a:srgbClr val="C0504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Authorization</a:t>
          </a:r>
        </a:p>
      </dgm:t>
    </dgm:pt>
    <dgm:pt modelId="{C69A623C-8E19-418F-98EF-A4A6CF555979}" type="parTrans" cxnId="{CF7428C2-5DD1-4828-B42C-9F716885A280}">
      <dgm:prSet custT="1"/>
      <dgm:spPr>
        <a:xfrm rot="5400000">
          <a:off x="2813988" y="3501550"/>
          <a:ext cx="477324" cy="418856"/>
        </a:xfrm>
        <a:solidFill>
          <a:srgbClr val="C0504D">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C3CFDD51-43A4-4D73-8930-3F6AABF2EF33}" type="sibTrans" cxnId="{CF7428C2-5DD1-4828-B42C-9F716885A280}">
      <dgm:prSet/>
      <dgm:spPr/>
      <dgm:t>
        <a:bodyPr/>
        <a:lstStyle/>
        <a:p>
          <a:endParaRPr lang="en-US" sz="1200" b="0"/>
        </a:p>
      </dgm:t>
    </dgm:pt>
    <dgm:pt modelId="{B19F489A-07E9-4532-8C7F-D2788E7DC0E2}">
      <dgm:prSet custT="1"/>
      <dgm:spPr>
        <a:xfrm>
          <a:off x="1339178" y="3778164"/>
          <a:ext cx="985543" cy="985543"/>
        </a:xfrm>
        <a:solidFill>
          <a:srgbClr val="9BBB59">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Poor Code Quality</a:t>
          </a:r>
        </a:p>
      </dgm:t>
    </dgm:pt>
    <dgm:pt modelId="{D6DB1086-4907-4156-A0C7-0AEF02AD3E93}" type="parTrans" cxnId="{31255E36-B8E3-48A6-A5C0-76CE437AA4D0}">
      <dgm:prSet custT="1"/>
      <dgm:spPr>
        <a:xfrm rot="7560000">
          <a:off x="2155555" y="3287612"/>
          <a:ext cx="477324" cy="418856"/>
        </a:xfrm>
        <a:solidFill>
          <a:srgbClr val="9BBB59">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A9B16BEF-865F-418A-B483-CCB763BCBD72}" type="sibTrans" cxnId="{31255E36-B8E3-48A6-A5C0-76CE437AA4D0}">
      <dgm:prSet/>
      <dgm:spPr/>
      <dgm:t>
        <a:bodyPr/>
        <a:lstStyle/>
        <a:p>
          <a:endParaRPr lang="en-US" sz="1200" b="0"/>
        </a:p>
      </dgm:t>
    </dgm:pt>
    <dgm:pt modelId="{EF4FE579-EFA8-407E-9CE2-D9456A191633}">
      <dgm:prSet custT="1"/>
      <dgm:spPr>
        <a:xfrm>
          <a:off x="584744" y="2739774"/>
          <a:ext cx="985543" cy="985543"/>
        </a:xfrm>
        <a:solidFill>
          <a:srgbClr val="8064A2">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Code Tampering</a:t>
          </a:r>
        </a:p>
      </dgm:t>
    </dgm:pt>
    <dgm:pt modelId="{8D1CFEA6-8F0C-48A1-8E8D-428B69F2190A}" type="parTrans" cxnId="{FC376E34-1DFB-4D85-81A4-7C42916AD2EB}">
      <dgm:prSet custT="1"/>
      <dgm:spPr>
        <a:xfrm rot="9720000">
          <a:off x="1748622" y="2727516"/>
          <a:ext cx="477324" cy="418856"/>
        </a:xfrm>
        <a:solidFill>
          <a:srgbClr val="8064A2">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017F8E56-1055-4905-B5BC-815BDEC6C2E5}" type="sibTrans" cxnId="{FC376E34-1DFB-4D85-81A4-7C42916AD2EB}">
      <dgm:prSet/>
      <dgm:spPr/>
      <dgm:t>
        <a:bodyPr/>
        <a:lstStyle/>
        <a:p>
          <a:endParaRPr lang="en-US" sz="1200" b="0"/>
        </a:p>
      </dgm:t>
    </dgm:pt>
    <dgm:pt modelId="{0C40F2CC-F2FC-4E20-A23E-370911B813F2}">
      <dgm:prSet custT="1"/>
      <dgm:spPr>
        <a:xfrm>
          <a:off x="584744" y="1456254"/>
          <a:ext cx="985543" cy="985543"/>
        </a:xfrm>
        <a:solidFill>
          <a:srgbClr val="4BACC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Reverse Engineering</a:t>
          </a:r>
        </a:p>
      </dgm:t>
    </dgm:pt>
    <dgm:pt modelId="{6B7D4B4A-565E-4CC8-9B69-7BBB77620EED}" type="parTrans" cxnId="{AA045193-583F-4B17-A4E4-2E04D4B35190}">
      <dgm:prSet custT="1"/>
      <dgm:spPr>
        <a:xfrm rot="11880000">
          <a:off x="1748622" y="2035200"/>
          <a:ext cx="477324" cy="418856"/>
        </a:xfrm>
        <a:solidFill>
          <a:srgbClr val="4BACC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6AB4BC9D-0DEF-4648-9E92-C38B2A8FFF1C}" type="sibTrans" cxnId="{AA045193-583F-4B17-A4E4-2E04D4B35190}">
      <dgm:prSet/>
      <dgm:spPr/>
      <dgm:t>
        <a:bodyPr/>
        <a:lstStyle/>
        <a:p>
          <a:endParaRPr lang="en-US" sz="1200" b="0"/>
        </a:p>
      </dgm:t>
    </dgm:pt>
    <dgm:pt modelId="{921628BA-EBC2-48C1-AB39-E4EF4514E6E8}">
      <dgm:prSet custT="1"/>
      <dgm:spPr>
        <a:xfrm>
          <a:off x="1339178" y="417864"/>
          <a:ext cx="985543" cy="985543"/>
        </a:xfrm>
        <a:solidFill>
          <a:srgbClr val="F7964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Extraneous Functionality</a:t>
          </a:r>
        </a:p>
      </dgm:t>
    </dgm:pt>
    <dgm:pt modelId="{ED2DE7B6-7BA5-4C94-917D-6356695A8C27}" type="parTrans" cxnId="{D444D74B-EAF8-4AE3-9F44-5285A7AE2DF1}">
      <dgm:prSet custT="1"/>
      <dgm:spPr>
        <a:xfrm rot="14040000">
          <a:off x="2155555" y="1475104"/>
          <a:ext cx="477324" cy="418856"/>
        </a:xfrm>
        <a:solidFill>
          <a:srgbClr val="F7964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8DB0E6D9-BF0B-4ABC-A4C1-0F57F7BF5DC2}" type="sibTrans" cxnId="{D444D74B-EAF8-4AE3-9F44-5285A7AE2DF1}">
      <dgm:prSet/>
      <dgm:spPr/>
      <dgm:t>
        <a:bodyPr/>
        <a:lstStyle/>
        <a:p>
          <a:endParaRPr lang="en-US" sz="1200" b="0"/>
        </a:p>
      </dgm:t>
    </dgm:pt>
    <dgm:pt modelId="{1C00081A-9F87-4454-A12C-E2BCC783A3A2}" type="pres">
      <dgm:prSet presAssocID="{86BA2FA3-BEF5-4AB0-A250-81C635C22268}" presName="Name0" presStyleCnt="0">
        <dgm:presLayoutVars>
          <dgm:chMax val="1"/>
          <dgm:dir/>
          <dgm:animLvl val="ctr"/>
          <dgm:resizeHandles val="exact"/>
        </dgm:presLayoutVars>
      </dgm:prSet>
      <dgm:spPr/>
    </dgm:pt>
    <dgm:pt modelId="{3C46B780-C3A8-4A52-9FD8-B19692CC38C3}" type="pres">
      <dgm:prSet presAssocID="{878D0A76-DDEB-4B48-897A-9545C1324A4D}" presName="centerShape" presStyleLbl="node0" presStyleIdx="0" presStyleCnt="1"/>
      <dgm:spPr/>
    </dgm:pt>
    <dgm:pt modelId="{8F9DE843-E1BF-477E-B093-53D980A470CB}" type="pres">
      <dgm:prSet presAssocID="{B986C639-E8C8-4BAC-AAAD-93674C9350CC}" presName="parTrans" presStyleLbl="sibTrans2D1" presStyleIdx="0" presStyleCnt="10"/>
      <dgm:spPr/>
    </dgm:pt>
    <dgm:pt modelId="{BACAE125-DFB0-4EE6-8AFC-5A3E0D0187FA}" type="pres">
      <dgm:prSet presAssocID="{B986C639-E8C8-4BAC-AAAD-93674C9350CC}" presName="connectorText" presStyleLbl="sibTrans2D1" presStyleIdx="0" presStyleCnt="10"/>
      <dgm:spPr/>
    </dgm:pt>
    <dgm:pt modelId="{857BF3F9-FB6F-4045-96C7-A6AF2A511919}" type="pres">
      <dgm:prSet presAssocID="{BAD37EF4-6E1F-4D6B-9233-DFDEEB45F82E}" presName="node" presStyleLbl="node1" presStyleIdx="0" presStyleCnt="10">
        <dgm:presLayoutVars>
          <dgm:bulletEnabled val="1"/>
        </dgm:presLayoutVars>
      </dgm:prSet>
      <dgm:spPr/>
    </dgm:pt>
    <dgm:pt modelId="{2D877664-01F4-47E2-8FD6-3C6D4F959212}" type="pres">
      <dgm:prSet presAssocID="{1A7A7054-7577-4C2E-BDAD-F5D060C54A62}" presName="parTrans" presStyleLbl="sibTrans2D1" presStyleIdx="1" presStyleCnt="10"/>
      <dgm:spPr/>
    </dgm:pt>
    <dgm:pt modelId="{C4B34F0D-364D-4379-B81D-2834947E68CD}" type="pres">
      <dgm:prSet presAssocID="{1A7A7054-7577-4C2E-BDAD-F5D060C54A62}" presName="connectorText" presStyleLbl="sibTrans2D1" presStyleIdx="1" presStyleCnt="10"/>
      <dgm:spPr/>
    </dgm:pt>
    <dgm:pt modelId="{7D811323-4AB8-4554-B984-8857CC9F496F}" type="pres">
      <dgm:prSet presAssocID="{80DEF943-A3EB-497A-93EF-9AD7BACBA9C6}" presName="node" presStyleLbl="node1" presStyleIdx="1" presStyleCnt="10">
        <dgm:presLayoutVars>
          <dgm:bulletEnabled val="1"/>
        </dgm:presLayoutVars>
      </dgm:prSet>
      <dgm:spPr/>
    </dgm:pt>
    <dgm:pt modelId="{085F7B28-D790-47E6-B264-3E70188BF55A}" type="pres">
      <dgm:prSet presAssocID="{62105905-2E36-4700-8564-07268D90A657}" presName="parTrans" presStyleLbl="sibTrans2D1" presStyleIdx="2" presStyleCnt="10"/>
      <dgm:spPr/>
    </dgm:pt>
    <dgm:pt modelId="{0F1A0CD8-6DBE-4261-9664-2DA38ABC730C}" type="pres">
      <dgm:prSet presAssocID="{62105905-2E36-4700-8564-07268D90A657}" presName="connectorText" presStyleLbl="sibTrans2D1" presStyleIdx="2" presStyleCnt="10"/>
      <dgm:spPr/>
    </dgm:pt>
    <dgm:pt modelId="{21703973-86A1-4836-B0BF-0BA124B429C5}" type="pres">
      <dgm:prSet presAssocID="{CCE7ECFA-49BE-400C-ACB3-DC0FD0997C03}" presName="node" presStyleLbl="node1" presStyleIdx="2" presStyleCnt="10">
        <dgm:presLayoutVars>
          <dgm:bulletEnabled val="1"/>
        </dgm:presLayoutVars>
      </dgm:prSet>
      <dgm:spPr/>
    </dgm:pt>
    <dgm:pt modelId="{61EAF171-EE8C-47FD-99F3-36DD495FA75C}" type="pres">
      <dgm:prSet presAssocID="{617500E7-845B-4E22-A788-64D727A2D292}" presName="parTrans" presStyleLbl="sibTrans2D1" presStyleIdx="3" presStyleCnt="10"/>
      <dgm:spPr/>
    </dgm:pt>
    <dgm:pt modelId="{93053516-9AE3-4B10-A18F-D5A5067B91F5}" type="pres">
      <dgm:prSet presAssocID="{617500E7-845B-4E22-A788-64D727A2D292}" presName="connectorText" presStyleLbl="sibTrans2D1" presStyleIdx="3" presStyleCnt="10"/>
      <dgm:spPr/>
    </dgm:pt>
    <dgm:pt modelId="{298A2EF8-427D-42B1-99AE-91B2F41C8A24}" type="pres">
      <dgm:prSet presAssocID="{3DE9218B-0A87-433F-914D-E7796E3A31C0}" presName="node" presStyleLbl="node1" presStyleIdx="3" presStyleCnt="10">
        <dgm:presLayoutVars>
          <dgm:bulletEnabled val="1"/>
        </dgm:presLayoutVars>
      </dgm:prSet>
      <dgm:spPr/>
    </dgm:pt>
    <dgm:pt modelId="{E0E8CA51-B39C-4608-9267-AB366E0B32E6}" type="pres">
      <dgm:prSet presAssocID="{FE6D72A1-C46A-46C5-AA3F-5200F8ABA360}" presName="parTrans" presStyleLbl="sibTrans2D1" presStyleIdx="4" presStyleCnt="10"/>
      <dgm:spPr/>
    </dgm:pt>
    <dgm:pt modelId="{FDFC97EC-7781-44F7-9ECD-19A3966E136E}" type="pres">
      <dgm:prSet presAssocID="{FE6D72A1-C46A-46C5-AA3F-5200F8ABA360}" presName="connectorText" presStyleLbl="sibTrans2D1" presStyleIdx="4" presStyleCnt="10"/>
      <dgm:spPr/>
    </dgm:pt>
    <dgm:pt modelId="{61624398-D423-44E0-A84F-95CC570CA524}" type="pres">
      <dgm:prSet presAssocID="{C46E9E96-222B-4311-A715-4AC50133B381}" presName="node" presStyleLbl="node1" presStyleIdx="4" presStyleCnt="10">
        <dgm:presLayoutVars>
          <dgm:bulletEnabled val="1"/>
        </dgm:presLayoutVars>
      </dgm:prSet>
      <dgm:spPr/>
    </dgm:pt>
    <dgm:pt modelId="{187925BA-783A-4B59-BF16-01CD46D4575C}" type="pres">
      <dgm:prSet presAssocID="{C69A623C-8E19-418F-98EF-A4A6CF555979}" presName="parTrans" presStyleLbl="sibTrans2D1" presStyleIdx="5" presStyleCnt="10"/>
      <dgm:spPr/>
    </dgm:pt>
    <dgm:pt modelId="{4943FC36-6D2D-47A2-A101-C0BFBB8FC876}" type="pres">
      <dgm:prSet presAssocID="{C69A623C-8E19-418F-98EF-A4A6CF555979}" presName="connectorText" presStyleLbl="sibTrans2D1" presStyleIdx="5" presStyleCnt="10"/>
      <dgm:spPr/>
    </dgm:pt>
    <dgm:pt modelId="{DD4FAA5A-BF7C-415D-BB67-E88045B68D5B}" type="pres">
      <dgm:prSet presAssocID="{0D97AA74-17E3-441B-B477-3C5F1D3B38E7}" presName="node" presStyleLbl="node1" presStyleIdx="5" presStyleCnt="10">
        <dgm:presLayoutVars>
          <dgm:bulletEnabled val="1"/>
        </dgm:presLayoutVars>
      </dgm:prSet>
      <dgm:spPr/>
    </dgm:pt>
    <dgm:pt modelId="{53055EC5-C081-4136-867F-D146942D4538}" type="pres">
      <dgm:prSet presAssocID="{D6DB1086-4907-4156-A0C7-0AEF02AD3E93}" presName="parTrans" presStyleLbl="sibTrans2D1" presStyleIdx="6" presStyleCnt="10"/>
      <dgm:spPr/>
    </dgm:pt>
    <dgm:pt modelId="{41B3329E-3DA4-40E1-807F-34E3C6ADE3C5}" type="pres">
      <dgm:prSet presAssocID="{D6DB1086-4907-4156-A0C7-0AEF02AD3E93}" presName="connectorText" presStyleLbl="sibTrans2D1" presStyleIdx="6" presStyleCnt="10"/>
      <dgm:spPr/>
    </dgm:pt>
    <dgm:pt modelId="{EBEE4CC0-26E9-4463-850B-D08CBB7EE58F}" type="pres">
      <dgm:prSet presAssocID="{B19F489A-07E9-4532-8C7F-D2788E7DC0E2}" presName="node" presStyleLbl="node1" presStyleIdx="6" presStyleCnt="10">
        <dgm:presLayoutVars>
          <dgm:bulletEnabled val="1"/>
        </dgm:presLayoutVars>
      </dgm:prSet>
      <dgm:spPr/>
    </dgm:pt>
    <dgm:pt modelId="{A37BE2D8-42DC-4EA4-8F7B-F46F99196271}" type="pres">
      <dgm:prSet presAssocID="{8D1CFEA6-8F0C-48A1-8E8D-428B69F2190A}" presName="parTrans" presStyleLbl="sibTrans2D1" presStyleIdx="7" presStyleCnt="10"/>
      <dgm:spPr/>
    </dgm:pt>
    <dgm:pt modelId="{722BB976-44DA-4F1A-8E5C-B3D9E1F236B4}" type="pres">
      <dgm:prSet presAssocID="{8D1CFEA6-8F0C-48A1-8E8D-428B69F2190A}" presName="connectorText" presStyleLbl="sibTrans2D1" presStyleIdx="7" presStyleCnt="10"/>
      <dgm:spPr/>
    </dgm:pt>
    <dgm:pt modelId="{9B8C7F34-F250-4BE7-BA57-A0027446C2A1}" type="pres">
      <dgm:prSet presAssocID="{EF4FE579-EFA8-407E-9CE2-D9456A191633}" presName="node" presStyleLbl="node1" presStyleIdx="7" presStyleCnt="10">
        <dgm:presLayoutVars>
          <dgm:bulletEnabled val="1"/>
        </dgm:presLayoutVars>
      </dgm:prSet>
      <dgm:spPr/>
    </dgm:pt>
    <dgm:pt modelId="{5051BB0A-9A7F-405D-9B60-F324F9194952}" type="pres">
      <dgm:prSet presAssocID="{6B7D4B4A-565E-4CC8-9B69-7BBB77620EED}" presName="parTrans" presStyleLbl="sibTrans2D1" presStyleIdx="8" presStyleCnt="10"/>
      <dgm:spPr/>
    </dgm:pt>
    <dgm:pt modelId="{E1391279-9B34-4E47-8D36-DF44675AA8E4}" type="pres">
      <dgm:prSet presAssocID="{6B7D4B4A-565E-4CC8-9B69-7BBB77620EED}" presName="connectorText" presStyleLbl="sibTrans2D1" presStyleIdx="8" presStyleCnt="10"/>
      <dgm:spPr/>
    </dgm:pt>
    <dgm:pt modelId="{26F42865-193D-4442-9AA2-9D4C932688A6}" type="pres">
      <dgm:prSet presAssocID="{0C40F2CC-F2FC-4E20-A23E-370911B813F2}" presName="node" presStyleLbl="node1" presStyleIdx="8" presStyleCnt="10">
        <dgm:presLayoutVars>
          <dgm:bulletEnabled val="1"/>
        </dgm:presLayoutVars>
      </dgm:prSet>
      <dgm:spPr/>
    </dgm:pt>
    <dgm:pt modelId="{C63AEBF3-94FC-42FF-8028-4E05F4C86BF7}" type="pres">
      <dgm:prSet presAssocID="{ED2DE7B6-7BA5-4C94-917D-6356695A8C27}" presName="parTrans" presStyleLbl="sibTrans2D1" presStyleIdx="9" presStyleCnt="10"/>
      <dgm:spPr/>
    </dgm:pt>
    <dgm:pt modelId="{B203A3B1-8DF0-4F92-B133-D36F7B1EEDAE}" type="pres">
      <dgm:prSet presAssocID="{ED2DE7B6-7BA5-4C94-917D-6356695A8C27}" presName="connectorText" presStyleLbl="sibTrans2D1" presStyleIdx="9" presStyleCnt="10"/>
      <dgm:spPr/>
    </dgm:pt>
    <dgm:pt modelId="{F0A0C56A-5ADA-48C2-B97A-DC1FCDD8D797}" type="pres">
      <dgm:prSet presAssocID="{921628BA-EBC2-48C1-AB39-E4EF4514E6E8}" presName="node" presStyleLbl="node1" presStyleIdx="9" presStyleCnt="10">
        <dgm:presLayoutVars>
          <dgm:bulletEnabled val="1"/>
        </dgm:presLayoutVars>
      </dgm:prSet>
      <dgm:spPr/>
    </dgm:pt>
  </dgm:ptLst>
  <dgm:cxnLst>
    <dgm:cxn modelId="{D63DEF01-58D5-4340-B36B-BC7F8DBEFC27}" type="presOf" srcId="{C46E9E96-222B-4311-A715-4AC50133B381}" destId="{61624398-D423-44E0-A84F-95CC570CA524}" srcOrd="0" destOrd="0" presId="urn:microsoft.com/office/officeart/2005/8/layout/radial5"/>
    <dgm:cxn modelId="{BC973E0A-294B-4D7E-A8F7-3B9640FC5B7E}" type="presOf" srcId="{617500E7-845B-4E22-A788-64D727A2D292}" destId="{93053516-9AE3-4B10-A18F-D5A5067B91F5}" srcOrd="1" destOrd="0" presId="urn:microsoft.com/office/officeart/2005/8/layout/radial5"/>
    <dgm:cxn modelId="{8045620A-DB29-4FBD-B2C8-D6241AC2ACAC}" type="presOf" srcId="{B986C639-E8C8-4BAC-AAAD-93674C9350CC}" destId="{BACAE125-DFB0-4EE6-8AFC-5A3E0D0187FA}" srcOrd="1" destOrd="0" presId="urn:microsoft.com/office/officeart/2005/8/layout/radial5"/>
    <dgm:cxn modelId="{1704D00B-E078-47EA-8674-4442567B8C0E}" type="presOf" srcId="{921628BA-EBC2-48C1-AB39-E4EF4514E6E8}" destId="{F0A0C56A-5ADA-48C2-B97A-DC1FCDD8D797}" srcOrd="0" destOrd="0" presId="urn:microsoft.com/office/officeart/2005/8/layout/radial5"/>
    <dgm:cxn modelId="{973D111E-DA33-4DF0-A8EF-B672A4124F3B}" type="presOf" srcId="{0D97AA74-17E3-441B-B477-3C5F1D3B38E7}" destId="{DD4FAA5A-BF7C-415D-BB67-E88045B68D5B}" srcOrd="0" destOrd="0" presId="urn:microsoft.com/office/officeart/2005/8/layout/radial5"/>
    <dgm:cxn modelId="{284F4A2E-B9CD-4706-B521-DF7AC66CD9F6}" srcId="{86BA2FA3-BEF5-4AB0-A250-81C635C22268}" destId="{878D0A76-DDEB-4B48-897A-9545C1324A4D}" srcOrd="0" destOrd="0" parTransId="{CF19F644-FFF5-4A96-9450-AE3147937A10}" sibTransId="{F3003843-BC95-4DC2-8FD1-677594A88838}"/>
    <dgm:cxn modelId="{AAFEC32E-026E-4E34-BC0D-C9A1612AC5E7}" type="presOf" srcId="{FE6D72A1-C46A-46C5-AA3F-5200F8ABA360}" destId="{FDFC97EC-7781-44F7-9ECD-19A3966E136E}" srcOrd="1" destOrd="0" presId="urn:microsoft.com/office/officeart/2005/8/layout/radial5"/>
    <dgm:cxn modelId="{FC376E34-1DFB-4D85-81A4-7C42916AD2EB}" srcId="{878D0A76-DDEB-4B48-897A-9545C1324A4D}" destId="{EF4FE579-EFA8-407E-9CE2-D9456A191633}" srcOrd="7" destOrd="0" parTransId="{8D1CFEA6-8F0C-48A1-8E8D-428B69F2190A}" sibTransId="{017F8E56-1055-4905-B5BC-815BDEC6C2E5}"/>
    <dgm:cxn modelId="{EAF27535-2416-4CC3-B06E-CE23A22B3C11}" type="presOf" srcId="{3DE9218B-0A87-433F-914D-E7796E3A31C0}" destId="{298A2EF8-427D-42B1-99AE-91B2F41C8A24}" srcOrd="0" destOrd="0" presId="urn:microsoft.com/office/officeart/2005/8/layout/radial5"/>
    <dgm:cxn modelId="{31255E36-B8E3-48A6-A5C0-76CE437AA4D0}" srcId="{878D0A76-DDEB-4B48-897A-9545C1324A4D}" destId="{B19F489A-07E9-4532-8C7F-D2788E7DC0E2}" srcOrd="6" destOrd="0" parTransId="{D6DB1086-4907-4156-A0C7-0AEF02AD3E93}" sibTransId="{A9B16BEF-865F-418A-B483-CCB763BCBD72}"/>
    <dgm:cxn modelId="{A76CEA3B-CC02-4E7D-A4DA-7A93F77F72E6}" type="presOf" srcId="{FE6D72A1-C46A-46C5-AA3F-5200F8ABA360}" destId="{E0E8CA51-B39C-4608-9267-AB366E0B32E6}" srcOrd="0" destOrd="0" presId="urn:microsoft.com/office/officeart/2005/8/layout/radial5"/>
    <dgm:cxn modelId="{49858762-DE1C-47A7-844F-5DBFC5342719}" type="presOf" srcId="{878D0A76-DDEB-4B48-897A-9545C1324A4D}" destId="{3C46B780-C3A8-4A52-9FD8-B19692CC38C3}" srcOrd="0" destOrd="0" presId="urn:microsoft.com/office/officeart/2005/8/layout/radial5"/>
    <dgm:cxn modelId="{FEDC9144-0D81-4F19-B33A-23A7860F6467}" type="presOf" srcId="{BAD37EF4-6E1F-4D6B-9233-DFDEEB45F82E}" destId="{857BF3F9-FB6F-4045-96C7-A6AF2A511919}" srcOrd="0" destOrd="0" presId="urn:microsoft.com/office/officeart/2005/8/layout/radial5"/>
    <dgm:cxn modelId="{88B70B65-1F6B-47A5-B8A6-629E4245E713}" type="presOf" srcId="{B986C639-E8C8-4BAC-AAAD-93674C9350CC}" destId="{8F9DE843-E1BF-477E-B093-53D980A470CB}" srcOrd="0" destOrd="0" presId="urn:microsoft.com/office/officeart/2005/8/layout/radial5"/>
    <dgm:cxn modelId="{6C929668-CA73-4514-A72D-4CF99D19BDE2}" type="presOf" srcId="{6B7D4B4A-565E-4CC8-9B69-7BBB77620EED}" destId="{5051BB0A-9A7F-405D-9B60-F324F9194952}" srcOrd="0" destOrd="0" presId="urn:microsoft.com/office/officeart/2005/8/layout/radial5"/>
    <dgm:cxn modelId="{D444D74B-EAF8-4AE3-9F44-5285A7AE2DF1}" srcId="{878D0A76-DDEB-4B48-897A-9545C1324A4D}" destId="{921628BA-EBC2-48C1-AB39-E4EF4514E6E8}" srcOrd="9" destOrd="0" parTransId="{ED2DE7B6-7BA5-4C94-917D-6356695A8C27}" sibTransId="{8DB0E6D9-BF0B-4ABC-A4C1-0F57F7BF5DC2}"/>
    <dgm:cxn modelId="{A327576D-BFC5-4442-AC43-D83159C6C8D1}" type="presOf" srcId="{62105905-2E36-4700-8564-07268D90A657}" destId="{085F7B28-D790-47E6-B264-3E70188BF55A}" srcOrd="0" destOrd="0" presId="urn:microsoft.com/office/officeart/2005/8/layout/radial5"/>
    <dgm:cxn modelId="{D53ACB52-F06B-4D68-9F08-4C0FA8F6E209}" type="presOf" srcId="{80DEF943-A3EB-497A-93EF-9AD7BACBA9C6}" destId="{7D811323-4AB8-4554-B984-8857CC9F496F}" srcOrd="0" destOrd="0" presId="urn:microsoft.com/office/officeart/2005/8/layout/radial5"/>
    <dgm:cxn modelId="{8586D455-2D19-481B-8F60-230DB398B9EA}" type="presOf" srcId="{ED2DE7B6-7BA5-4C94-917D-6356695A8C27}" destId="{C63AEBF3-94FC-42FF-8028-4E05F4C86BF7}" srcOrd="0" destOrd="0" presId="urn:microsoft.com/office/officeart/2005/8/layout/radial5"/>
    <dgm:cxn modelId="{90061A78-9C50-4C51-B91A-638C361EFBA1}" type="presOf" srcId="{62105905-2E36-4700-8564-07268D90A657}" destId="{0F1A0CD8-6DBE-4261-9664-2DA38ABC730C}" srcOrd="1" destOrd="0" presId="urn:microsoft.com/office/officeart/2005/8/layout/radial5"/>
    <dgm:cxn modelId="{21C8ED5A-B901-4D87-8FB6-E4F677BDEEDA}" srcId="{878D0A76-DDEB-4B48-897A-9545C1324A4D}" destId="{C46E9E96-222B-4311-A715-4AC50133B381}" srcOrd="4" destOrd="0" parTransId="{FE6D72A1-C46A-46C5-AA3F-5200F8ABA360}" sibTransId="{9F290A54-6FDF-4460-83DA-85B1119F7BDD}"/>
    <dgm:cxn modelId="{97A07D83-A6C3-4757-A6B1-EA85CA57E79F}" type="presOf" srcId="{617500E7-845B-4E22-A788-64D727A2D292}" destId="{61EAF171-EE8C-47FD-99F3-36DD495FA75C}" srcOrd="0" destOrd="0" presId="urn:microsoft.com/office/officeart/2005/8/layout/radial5"/>
    <dgm:cxn modelId="{56600488-8F39-427A-AFCE-A179354B20F5}" type="presOf" srcId="{6B7D4B4A-565E-4CC8-9B69-7BBB77620EED}" destId="{E1391279-9B34-4E47-8D36-DF44675AA8E4}" srcOrd="1" destOrd="0" presId="urn:microsoft.com/office/officeart/2005/8/layout/radial5"/>
    <dgm:cxn modelId="{AA045193-583F-4B17-A4E4-2E04D4B35190}" srcId="{878D0A76-DDEB-4B48-897A-9545C1324A4D}" destId="{0C40F2CC-F2FC-4E20-A23E-370911B813F2}" srcOrd="8" destOrd="0" parTransId="{6B7D4B4A-565E-4CC8-9B69-7BBB77620EED}" sibTransId="{6AB4BC9D-0DEF-4648-9E92-C38B2A8FFF1C}"/>
    <dgm:cxn modelId="{69476994-D9F3-4EA6-B9ED-D0E87C57D8E1}" type="presOf" srcId="{ED2DE7B6-7BA5-4C94-917D-6356695A8C27}" destId="{B203A3B1-8DF0-4F92-B133-D36F7B1EEDAE}" srcOrd="1" destOrd="0" presId="urn:microsoft.com/office/officeart/2005/8/layout/radial5"/>
    <dgm:cxn modelId="{80756998-0892-4E91-BCEC-822799B8439A}" srcId="{878D0A76-DDEB-4B48-897A-9545C1324A4D}" destId="{3DE9218B-0A87-433F-914D-E7796E3A31C0}" srcOrd="3" destOrd="0" parTransId="{617500E7-845B-4E22-A788-64D727A2D292}" sibTransId="{8E37374A-79C9-49B1-BB66-A4BB0BDFA6A1}"/>
    <dgm:cxn modelId="{DF7C7D99-829A-46F6-8DBB-642E44E8A8AD}" type="presOf" srcId="{D6DB1086-4907-4156-A0C7-0AEF02AD3E93}" destId="{41B3329E-3DA4-40E1-807F-34E3C6ADE3C5}" srcOrd="1" destOrd="0" presId="urn:microsoft.com/office/officeart/2005/8/layout/radial5"/>
    <dgm:cxn modelId="{94B7809E-F214-44BF-9E48-B584ECB07165}" type="presOf" srcId="{CCE7ECFA-49BE-400C-ACB3-DC0FD0997C03}" destId="{21703973-86A1-4836-B0BF-0BA124B429C5}" srcOrd="0" destOrd="0" presId="urn:microsoft.com/office/officeart/2005/8/layout/radial5"/>
    <dgm:cxn modelId="{92553DB6-3755-4A29-BD6E-6817C61BEFEE}" type="presOf" srcId="{EF4FE579-EFA8-407E-9CE2-D9456A191633}" destId="{9B8C7F34-F250-4BE7-BA57-A0027446C2A1}" srcOrd="0" destOrd="0" presId="urn:microsoft.com/office/officeart/2005/8/layout/radial5"/>
    <dgm:cxn modelId="{724025B8-7FE0-4EA4-8F50-2BB22578E322}" type="presOf" srcId="{1A7A7054-7577-4C2E-BDAD-F5D060C54A62}" destId="{C4B34F0D-364D-4379-B81D-2834947E68CD}" srcOrd="1" destOrd="0" presId="urn:microsoft.com/office/officeart/2005/8/layout/radial5"/>
    <dgm:cxn modelId="{250408C2-BB39-455E-9A8D-2E53EECBB4E7}" type="presOf" srcId="{D6DB1086-4907-4156-A0C7-0AEF02AD3E93}" destId="{53055EC5-C081-4136-867F-D146942D4538}" srcOrd="0" destOrd="0" presId="urn:microsoft.com/office/officeart/2005/8/layout/radial5"/>
    <dgm:cxn modelId="{CF7428C2-5DD1-4828-B42C-9F716885A280}" srcId="{878D0A76-DDEB-4B48-897A-9545C1324A4D}" destId="{0D97AA74-17E3-441B-B477-3C5F1D3B38E7}" srcOrd="5" destOrd="0" parTransId="{C69A623C-8E19-418F-98EF-A4A6CF555979}" sibTransId="{C3CFDD51-43A4-4D73-8930-3F6AABF2EF33}"/>
    <dgm:cxn modelId="{DA4DC7C3-4B53-4BE0-A80C-C8C909B66E4A}" type="presOf" srcId="{8D1CFEA6-8F0C-48A1-8E8D-428B69F2190A}" destId="{A37BE2D8-42DC-4EA4-8F7B-F46F99196271}" srcOrd="0" destOrd="0" presId="urn:microsoft.com/office/officeart/2005/8/layout/radial5"/>
    <dgm:cxn modelId="{18E26DCC-0F37-4154-989F-9C09B1D7A33C}" srcId="{878D0A76-DDEB-4B48-897A-9545C1324A4D}" destId="{CCE7ECFA-49BE-400C-ACB3-DC0FD0997C03}" srcOrd="2" destOrd="0" parTransId="{62105905-2E36-4700-8564-07268D90A657}" sibTransId="{45175CD6-5C51-4F53-936D-44B21E56BABA}"/>
    <dgm:cxn modelId="{5BB5CAD4-5B1F-4A27-9491-5B812E36D7BE}" type="presOf" srcId="{C69A623C-8E19-418F-98EF-A4A6CF555979}" destId="{187925BA-783A-4B59-BF16-01CD46D4575C}" srcOrd="0" destOrd="0" presId="urn:microsoft.com/office/officeart/2005/8/layout/radial5"/>
    <dgm:cxn modelId="{F0A115E3-E4D4-4204-A941-A018498D7CBA}" type="presOf" srcId="{1A7A7054-7577-4C2E-BDAD-F5D060C54A62}" destId="{2D877664-01F4-47E2-8FD6-3C6D4F959212}" srcOrd="0" destOrd="0" presId="urn:microsoft.com/office/officeart/2005/8/layout/radial5"/>
    <dgm:cxn modelId="{3AE8A8E6-4AC4-462F-9CAD-08EC86D4794F}" type="presOf" srcId="{86BA2FA3-BEF5-4AB0-A250-81C635C22268}" destId="{1C00081A-9F87-4454-A12C-E2BCC783A3A2}" srcOrd="0" destOrd="0" presId="urn:microsoft.com/office/officeart/2005/8/layout/radial5"/>
    <dgm:cxn modelId="{AB1D6CE7-4278-4C83-83FD-ACCF2C3C6D0B}" srcId="{878D0A76-DDEB-4B48-897A-9545C1324A4D}" destId="{80DEF943-A3EB-497A-93EF-9AD7BACBA9C6}" srcOrd="1" destOrd="0" parTransId="{1A7A7054-7577-4C2E-BDAD-F5D060C54A62}" sibTransId="{905425F9-3A84-486D-9DAA-B5D941412243}"/>
    <dgm:cxn modelId="{5EABF8F4-B4F1-4B9D-A68D-322D57397379}" type="presOf" srcId="{C69A623C-8E19-418F-98EF-A4A6CF555979}" destId="{4943FC36-6D2D-47A2-A101-C0BFBB8FC876}" srcOrd="1" destOrd="0" presId="urn:microsoft.com/office/officeart/2005/8/layout/radial5"/>
    <dgm:cxn modelId="{1F1F1DF5-D61E-4254-8A6E-7004C9B04CB5}" type="presOf" srcId="{B19F489A-07E9-4532-8C7F-D2788E7DC0E2}" destId="{EBEE4CC0-26E9-4463-850B-D08CBB7EE58F}" srcOrd="0" destOrd="0" presId="urn:microsoft.com/office/officeart/2005/8/layout/radial5"/>
    <dgm:cxn modelId="{308570F6-BB97-40A8-AD19-F3FEAF516414}" type="presOf" srcId="{8D1CFEA6-8F0C-48A1-8E8D-428B69F2190A}" destId="{722BB976-44DA-4F1A-8E5C-B3D9E1F236B4}" srcOrd="1" destOrd="0" presId="urn:microsoft.com/office/officeart/2005/8/layout/radial5"/>
    <dgm:cxn modelId="{56993AFA-1550-48FA-82E8-31DA362A676C}" type="presOf" srcId="{0C40F2CC-F2FC-4E20-A23E-370911B813F2}" destId="{26F42865-193D-4442-9AA2-9D4C932688A6}" srcOrd="0" destOrd="0" presId="urn:microsoft.com/office/officeart/2005/8/layout/radial5"/>
    <dgm:cxn modelId="{86E07AFF-E2A1-499D-B360-D1206C93F3A2}" srcId="{878D0A76-DDEB-4B48-897A-9545C1324A4D}" destId="{BAD37EF4-6E1F-4D6B-9233-DFDEEB45F82E}" srcOrd="0" destOrd="0" parTransId="{B986C639-E8C8-4BAC-AAAD-93674C9350CC}" sibTransId="{315730BC-CA59-4721-A9F0-7AC2CDD79BA5}"/>
    <dgm:cxn modelId="{DFBF9096-9B9E-46AE-BBE6-E529BC61807D}" type="presParOf" srcId="{1C00081A-9F87-4454-A12C-E2BCC783A3A2}" destId="{3C46B780-C3A8-4A52-9FD8-B19692CC38C3}" srcOrd="0" destOrd="0" presId="urn:microsoft.com/office/officeart/2005/8/layout/radial5"/>
    <dgm:cxn modelId="{E398E5D4-DFEC-46BD-9585-8CBDF32CAB35}" type="presParOf" srcId="{1C00081A-9F87-4454-A12C-E2BCC783A3A2}" destId="{8F9DE843-E1BF-477E-B093-53D980A470CB}" srcOrd="1" destOrd="0" presId="urn:microsoft.com/office/officeart/2005/8/layout/radial5"/>
    <dgm:cxn modelId="{6F78A17B-91E9-4344-A26F-EFE249BAE450}" type="presParOf" srcId="{8F9DE843-E1BF-477E-B093-53D980A470CB}" destId="{BACAE125-DFB0-4EE6-8AFC-5A3E0D0187FA}" srcOrd="0" destOrd="0" presId="urn:microsoft.com/office/officeart/2005/8/layout/radial5"/>
    <dgm:cxn modelId="{1E4F6CF6-4570-4185-919A-EAA572D86B77}" type="presParOf" srcId="{1C00081A-9F87-4454-A12C-E2BCC783A3A2}" destId="{857BF3F9-FB6F-4045-96C7-A6AF2A511919}" srcOrd="2" destOrd="0" presId="urn:microsoft.com/office/officeart/2005/8/layout/radial5"/>
    <dgm:cxn modelId="{871EF702-59A4-4AB7-A7D0-7B329FE5570E}" type="presParOf" srcId="{1C00081A-9F87-4454-A12C-E2BCC783A3A2}" destId="{2D877664-01F4-47E2-8FD6-3C6D4F959212}" srcOrd="3" destOrd="0" presId="urn:microsoft.com/office/officeart/2005/8/layout/radial5"/>
    <dgm:cxn modelId="{1B64D922-BF9F-4E7C-BF78-0D3B5DF0E991}" type="presParOf" srcId="{2D877664-01F4-47E2-8FD6-3C6D4F959212}" destId="{C4B34F0D-364D-4379-B81D-2834947E68CD}" srcOrd="0" destOrd="0" presId="urn:microsoft.com/office/officeart/2005/8/layout/radial5"/>
    <dgm:cxn modelId="{4166E0A2-40CE-4DBE-9CA1-E0879A216F0F}" type="presParOf" srcId="{1C00081A-9F87-4454-A12C-E2BCC783A3A2}" destId="{7D811323-4AB8-4554-B984-8857CC9F496F}" srcOrd="4" destOrd="0" presId="urn:microsoft.com/office/officeart/2005/8/layout/radial5"/>
    <dgm:cxn modelId="{2BB75E1B-4130-4336-A169-9F3F908FC750}" type="presParOf" srcId="{1C00081A-9F87-4454-A12C-E2BCC783A3A2}" destId="{085F7B28-D790-47E6-B264-3E70188BF55A}" srcOrd="5" destOrd="0" presId="urn:microsoft.com/office/officeart/2005/8/layout/radial5"/>
    <dgm:cxn modelId="{560B7599-FC47-4794-9423-1BCAE32CDBA5}" type="presParOf" srcId="{085F7B28-D790-47E6-B264-3E70188BF55A}" destId="{0F1A0CD8-6DBE-4261-9664-2DA38ABC730C}" srcOrd="0" destOrd="0" presId="urn:microsoft.com/office/officeart/2005/8/layout/radial5"/>
    <dgm:cxn modelId="{50A4C533-B417-4139-B359-4DE9244C8307}" type="presParOf" srcId="{1C00081A-9F87-4454-A12C-E2BCC783A3A2}" destId="{21703973-86A1-4836-B0BF-0BA124B429C5}" srcOrd="6" destOrd="0" presId="urn:microsoft.com/office/officeart/2005/8/layout/radial5"/>
    <dgm:cxn modelId="{A1E859BD-C7CF-4DC5-B670-8194A63C7FDB}" type="presParOf" srcId="{1C00081A-9F87-4454-A12C-E2BCC783A3A2}" destId="{61EAF171-EE8C-47FD-99F3-36DD495FA75C}" srcOrd="7" destOrd="0" presId="urn:microsoft.com/office/officeart/2005/8/layout/radial5"/>
    <dgm:cxn modelId="{3B51DF6D-2EA2-4570-B334-501C4422BC37}" type="presParOf" srcId="{61EAF171-EE8C-47FD-99F3-36DD495FA75C}" destId="{93053516-9AE3-4B10-A18F-D5A5067B91F5}" srcOrd="0" destOrd="0" presId="urn:microsoft.com/office/officeart/2005/8/layout/radial5"/>
    <dgm:cxn modelId="{9B1FE803-D033-4E65-A64F-04D5993BE7C8}" type="presParOf" srcId="{1C00081A-9F87-4454-A12C-E2BCC783A3A2}" destId="{298A2EF8-427D-42B1-99AE-91B2F41C8A24}" srcOrd="8" destOrd="0" presId="urn:microsoft.com/office/officeart/2005/8/layout/radial5"/>
    <dgm:cxn modelId="{7F58B9CC-76CF-4FC7-9D47-42D57EC7B017}" type="presParOf" srcId="{1C00081A-9F87-4454-A12C-E2BCC783A3A2}" destId="{E0E8CA51-B39C-4608-9267-AB366E0B32E6}" srcOrd="9" destOrd="0" presId="urn:microsoft.com/office/officeart/2005/8/layout/radial5"/>
    <dgm:cxn modelId="{52F99CDF-253D-4C10-9D8B-C35495FF6DED}" type="presParOf" srcId="{E0E8CA51-B39C-4608-9267-AB366E0B32E6}" destId="{FDFC97EC-7781-44F7-9ECD-19A3966E136E}" srcOrd="0" destOrd="0" presId="urn:microsoft.com/office/officeart/2005/8/layout/radial5"/>
    <dgm:cxn modelId="{B8C40360-A103-4C40-BF29-AC4B126BE414}" type="presParOf" srcId="{1C00081A-9F87-4454-A12C-E2BCC783A3A2}" destId="{61624398-D423-44E0-A84F-95CC570CA524}" srcOrd="10" destOrd="0" presId="urn:microsoft.com/office/officeart/2005/8/layout/radial5"/>
    <dgm:cxn modelId="{2F506009-1B77-4B68-9CE1-BF1B8B73AB93}" type="presParOf" srcId="{1C00081A-9F87-4454-A12C-E2BCC783A3A2}" destId="{187925BA-783A-4B59-BF16-01CD46D4575C}" srcOrd="11" destOrd="0" presId="urn:microsoft.com/office/officeart/2005/8/layout/radial5"/>
    <dgm:cxn modelId="{FBCDCF2C-0A3A-4CD6-B695-B343C1820694}" type="presParOf" srcId="{187925BA-783A-4B59-BF16-01CD46D4575C}" destId="{4943FC36-6D2D-47A2-A101-C0BFBB8FC876}" srcOrd="0" destOrd="0" presId="urn:microsoft.com/office/officeart/2005/8/layout/radial5"/>
    <dgm:cxn modelId="{DF50DDCC-0C11-44CA-9DAA-0943FEFA53B7}" type="presParOf" srcId="{1C00081A-9F87-4454-A12C-E2BCC783A3A2}" destId="{DD4FAA5A-BF7C-415D-BB67-E88045B68D5B}" srcOrd="12" destOrd="0" presId="urn:microsoft.com/office/officeart/2005/8/layout/radial5"/>
    <dgm:cxn modelId="{58F5FFF4-9BBA-4B80-8487-A8F6896C87C6}" type="presParOf" srcId="{1C00081A-9F87-4454-A12C-E2BCC783A3A2}" destId="{53055EC5-C081-4136-867F-D146942D4538}" srcOrd="13" destOrd="0" presId="urn:microsoft.com/office/officeart/2005/8/layout/radial5"/>
    <dgm:cxn modelId="{A3F53842-22AC-40D9-8FAE-7C34767C05FC}" type="presParOf" srcId="{53055EC5-C081-4136-867F-D146942D4538}" destId="{41B3329E-3DA4-40E1-807F-34E3C6ADE3C5}" srcOrd="0" destOrd="0" presId="urn:microsoft.com/office/officeart/2005/8/layout/radial5"/>
    <dgm:cxn modelId="{E92D14EC-10A8-43CC-8322-9EF46B9383EF}" type="presParOf" srcId="{1C00081A-9F87-4454-A12C-E2BCC783A3A2}" destId="{EBEE4CC0-26E9-4463-850B-D08CBB7EE58F}" srcOrd="14" destOrd="0" presId="urn:microsoft.com/office/officeart/2005/8/layout/radial5"/>
    <dgm:cxn modelId="{AAAD83F0-576D-4AA5-91B1-29F956DD747B}" type="presParOf" srcId="{1C00081A-9F87-4454-A12C-E2BCC783A3A2}" destId="{A37BE2D8-42DC-4EA4-8F7B-F46F99196271}" srcOrd="15" destOrd="0" presId="urn:microsoft.com/office/officeart/2005/8/layout/radial5"/>
    <dgm:cxn modelId="{19F76202-DE44-4F2D-8164-20BC83070CFB}" type="presParOf" srcId="{A37BE2D8-42DC-4EA4-8F7B-F46F99196271}" destId="{722BB976-44DA-4F1A-8E5C-B3D9E1F236B4}" srcOrd="0" destOrd="0" presId="urn:microsoft.com/office/officeart/2005/8/layout/radial5"/>
    <dgm:cxn modelId="{1A5BFC63-24F0-4BE9-ACB5-578E4FFD2BD3}" type="presParOf" srcId="{1C00081A-9F87-4454-A12C-E2BCC783A3A2}" destId="{9B8C7F34-F250-4BE7-BA57-A0027446C2A1}" srcOrd="16" destOrd="0" presId="urn:microsoft.com/office/officeart/2005/8/layout/radial5"/>
    <dgm:cxn modelId="{4443D3CA-839D-4526-B876-0B439C85837B}" type="presParOf" srcId="{1C00081A-9F87-4454-A12C-E2BCC783A3A2}" destId="{5051BB0A-9A7F-405D-9B60-F324F9194952}" srcOrd="17" destOrd="0" presId="urn:microsoft.com/office/officeart/2005/8/layout/radial5"/>
    <dgm:cxn modelId="{CFF7DD9C-4AE8-4DF6-8310-0841E91A1910}" type="presParOf" srcId="{5051BB0A-9A7F-405D-9B60-F324F9194952}" destId="{E1391279-9B34-4E47-8D36-DF44675AA8E4}" srcOrd="0" destOrd="0" presId="urn:microsoft.com/office/officeart/2005/8/layout/radial5"/>
    <dgm:cxn modelId="{57871297-D644-4694-91AF-CAD60F0104BA}" type="presParOf" srcId="{1C00081A-9F87-4454-A12C-E2BCC783A3A2}" destId="{26F42865-193D-4442-9AA2-9D4C932688A6}" srcOrd="18" destOrd="0" presId="urn:microsoft.com/office/officeart/2005/8/layout/radial5"/>
    <dgm:cxn modelId="{3FDA07C5-F4FA-4F8E-82CF-B38309E3630E}" type="presParOf" srcId="{1C00081A-9F87-4454-A12C-E2BCC783A3A2}" destId="{C63AEBF3-94FC-42FF-8028-4E05F4C86BF7}" srcOrd="19" destOrd="0" presId="urn:microsoft.com/office/officeart/2005/8/layout/radial5"/>
    <dgm:cxn modelId="{6F2678C7-A8B6-43FD-8F66-3F04A21E0659}" type="presParOf" srcId="{C63AEBF3-94FC-42FF-8028-4E05F4C86BF7}" destId="{B203A3B1-8DF0-4F92-B133-D36F7B1EEDAE}" srcOrd="0" destOrd="0" presId="urn:microsoft.com/office/officeart/2005/8/layout/radial5"/>
    <dgm:cxn modelId="{6A19CDC4-3438-49C1-AE28-D1A86F02556D}" type="presParOf" srcId="{1C00081A-9F87-4454-A12C-E2BCC783A3A2}" destId="{F0A0C56A-5ADA-48C2-B97A-DC1FCDD8D797}" srcOrd="20" destOrd="0" presId="urn:microsoft.com/office/officeart/2005/8/layout/radial5"/>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492134-8402-4705-B6BC-EB85EB30792B}">
      <dsp:nvSpPr>
        <dsp:cNvPr id="0" name=""/>
        <dsp:cNvSpPr/>
      </dsp:nvSpPr>
      <dsp:spPr>
        <a:xfrm>
          <a:off x="2" y="673919"/>
          <a:ext cx="10830569" cy="2417933"/>
        </a:xfrm>
        <a:prstGeom prst="rightArrow">
          <a:avLst/>
        </a:prstGeom>
        <a:gradFill rotWithShape="0">
          <a:gsLst>
            <a:gs pos="0">
              <a:schemeClr val="bg1">
                <a:lumMod val="75000"/>
                <a:alpha val="44000"/>
              </a:schemeClr>
            </a:gs>
            <a:gs pos="100000">
              <a:schemeClr val="tx1">
                <a:lumMod val="95000"/>
                <a:lumOff val="5000"/>
                <a:alpha val="91000"/>
              </a:schemeClr>
            </a:gs>
          </a:gsLst>
          <a:lin ang="7200000" scaled="0"/>
        </a:gradFill>
        <a:ln>
          <a:noFill/>
        </a:ln>
        <a:effectLst/>
      </dsp:spPr>
      <dsp:style>
        <a:lnRef idx="0">
          <a:scrgbClr r="0" g="0" b="0"/>
        </a:lnRef>
        <a:fillRef idx="1">
          <a:scrgbClr r="0" g="0" b="0"/>
        </a:fillRef>
        <a:effectRef idx="0">
          <a:scrgbClr r="0" g="0" b="0"/>
        </a:effectRef>
        <a:fontRef idx="minor"/>
      </dsp:style>
    </dsp:sp>
    <dsp:sp modelId="{3BF1FD39-9211-4C4F-A7B7-889CE46B8984}">
      <dsp:nvSpPr>
        <dsp:cNvPr id="0" name=""/>
        <dsp:cNvSpPr/>
      </dsp:nvSpPr>
      <dsp:spPr>
        <a:xfrm>
          <a:off x="0"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Information gathering</a:t>
          </a:r>
        </a:p>
      </dsp:txBody>
      <dsp:txXfrm>
        <a:off x="26782" y="1613738"/>
        <a:ext cx="1017905" cy="495078"/>
      </dsp:txXfrm>
    </dsp:sp>
    <dsp:sp modelId="{77729CFD-C3EB-4EB7-9510-073582B5B318}">
      <dsp:nvSpPr>
        <dsp:cNvPr id="0" name=""/>
        <dsp:cNvSpPr/>
      </dsp:nvSpPr>
      <dsp:spPr>
        <a:xfrm>
          <a:off x="1217312"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Network mapping</a:t>
          </a:r>
        </a:p>
      </dsp:txBody>
      <dsp:txXfrm>
        <a:off x="1244094" y="1613738"/>
        <a:ext cx="1017905" cy="495078"/>
      </dsp:txXfrm>
    </dsp:sp>
    <dsp:sp modelId="{8F9B7931-7FB7-45BA-9716-E2EEB82DACE6}">
      <dsp:nvSpPr>
        <dsp:cNvPr id="0" name=""/>
        <dsp:cNvSpPr/>
      </dsp:nvSpPr>
      <dsp:spPr>
        <a:xfrm>
          <a:off x="2437115"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Vulnerability Identification</a:t>
          </a:r>
        </a:p>
      </dsp:txBody>
      <dsp:txXfrm>
        <a:off x="2463897" y="1613738"/>
        <a:ext cx="1017905" cy="495078"/>
      </dsp:txXfrm>
    </dsp:sp>
    <dsp:sp modelId="{F58768C0-06C7-4386-940F-B2B1EA4E24A3}">
      <dsp:nvSpPr>
        <dsp:cNvPr id="0" name=""/>
        <dsp:cNvSpPr/>
      </dsp:nvSpPr>
      <dsp:spPr>
        <a:xfrm>
          <a:off x="3656918"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Penetration</a:t>
          </a:r>
        </a:p>
      </dsp:txBody>
      <dsp:txXfrm>
        <a:off x="3683700" y="1613738"/>
        <a:ext cx="1017905" cy="495078"/>
      </dsp:txXfrm>
    </dsp:sp>
    <dsp:sp modelId="{D0CCFECF-3A29-4D93-8054-535CFB304A5D}">
      <dsp:nvSpPr>
        <dsp:cNvPr id="0" name=""/>
        <dsp:cNvSpPr/>
      </dsp:nvSpPr>
      <dsp:spPr>
        <a:xfrm>
          <a:off x="4876720"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Gaining access and privilege escalation</a:t>
          </a:r>
        </a:p>
      </dsp:txBody>
      <dsp:txXfrm>
        <a:off x="4903502" y="1613738"/>
        <a:ext cx="1017905" cy="495078"/>
      </dsp:txXfrm>
    </dsp:sp>
    <dsp:sp modelId="{D13F8B5B-AE9C-4CDD-B84A-733633AC3BFF}">
      <dsp:nvSpPr>
        <dsp:cNvPr id="0" name=""/>
        <dsp:cNvSpPr/>
      </dsp:nvSpPr>
      <dsp:spPr>
        <a:xfrm>
          <a:off x="6096523"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Enumerating further</a:t>
          </a:r>
        </a:p>
      </dsp:txBody>
      <dsp:txXfrm>
        <a:off x="6123305" y="1613738"/>
        <a:ext cx="1017905" cy="495078"/>
      </dsp:txXfrm>
    </dsp:sp>
    <dsp:sp modelId="{636D82E1-2BBD-4956-ADF8-45A0D9AAE966}">
      <dsp:nvSpPr>
        <dsp:cNvPr id="0" name=""/>
        <dsp:cNvSpPr/>
      </dsp:nvSpPr>
      <dsp:spPr>
        <a:xfrm>
          <a:off x="7316326"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ompromising remote users/sites</a:t>
          </a:r>
        </a:p>
      </dsp:txBody>
      <dsp:txXfrm>
        <a:off x="7343108" y="1613738"/>
        <a:ext cx="1017905" cy="495078"/>
      </dsp:txXfrm>
    </dsp:sp>
    <dsp:sp modelId="{C83036AF-C184-49FD-B8AF-5201FC3C4D4F}">
      <dsp:nvSpPr>
        <dsp:cNvPr id="0" name=""/>
        <dsp:cNvSpPr/>
      </dsp:nvSpPr>
      <dsp:spPr>
        <a:xfrm>
          <a:off x="8536129"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Maintaining access</a:t>
          </a:r>
        </a:p>
      </dsp:txBody>
      <dsp:txXfrm>
        <a:off x="8562911" y="1613738"/>
        <a:ext cx="1017905" cy="495078"/>
      </dsp:txXfrm>
    </dsp:sp>
    <dsp:sp modelId="{38B8BDE1-C20B-4097-9BF2-163923CB56AF}">
      <dsp:nvSpPr>
        <dsp:cNvPr id="0" name=""/>
        <dsp:cNvSpPr/>
      </dsp:nvSpPr>
      <dsp:spPr>
        <a:xfrm>
          <a:off x="9755932"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overing the track</a:t>
          </a:r>
        </a:p>
      </dsp:txBody>
      <dsp:txXfrm>
        <a:off x="9782714" y="1613738"/>
        <a:ext cx="1017905" cy="49507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A1B184-55D1-4313-A9B7-B11EFA040AB1}">
      <dsp:nvSpPr>
        <dsp:cNvPr id="0" name=""/>
        <dsp:cNvSpPr/>
      </dsp:nvSpPr>
      <dsp:spPr>
        <a:xfrm>
          <a:off x="4554" y="277939"/>
          <a:ext cx="1361182" cy="816709"/>
        </a:xfrm>
        <a:prstGeom prst="flowChartProcess">
          <a:avLst/>
        </a:prstGeom>
        <a:solidFill>
          <a:srgbClr val="001D6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Pre-engagement Interactions</a:t>
          </a:r>
        </a:p>
      </dsp:txBody>
      <dsp:txXfrm>
        <a:off x="4554" y="277939"/>
        <a:ext cx="1361182" cy="816709"/>
      </dsp:txXfrm>
    </dsp:sp>
    <dsp:sp modelId="{EAC454C6-9F0B-4284-9E9E-FCF97BBE220B}">
      <dsp:nvSpPr>
        <dsp:cNvPr id="0" name=""/>
        <dsp:cNvSpPr/>
      </dsp:nvSpPr>
      <dsp:spPr>
        <a:xfrm>
          <a:off x="1485520" y="517507"/>
          <a:ext cx="288570" cy="337573"/>
        </a:xfrm>
        <a:prstGeom prst="rightArrow">
          <a:avLst>
            <a:gd name="adj1" fmla="val 60000"/>
            <a:gd name="adj2" fmla="val 50000"/>
          </a:avLst>
        </a:prstGeom>
        <a:solidFill>
          <a:srgbClr val="001D6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1485520" y="585022"/>
        <a:ext cx="201999" cy="202543"/>
      </dsp:txXfrm>
    </dsp:sp>
    <dsp:sp modelId="{5902F681-8E43-4C19-97FD-C748C5BB32F1}">
      <dsp:nvSpPr>
        <dsp:cNvPr id="0" name=""/>
        <dsp:cNvSpPr/>
      </dsp:nvSpPr>
      <dsp:spPr>
        <a:xfrm>
          <a:off x="1910209" y="277939"/>
          <a:ext cx="1361182" cy="816709"/>
        </a:xfrm>
        <a:prstGeom prst="flowChartProcess">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Intelligence Gathering</a:t>
          </a:r>
        </a:p>
      </dsp:txBody>
      <dsp:txXfrm>
        <a:off x="1910209" y="277939"/>
        <a:ext cx="1361182" cy="816709"/>
      </dsp:txXfrm>
    </dsp:sp>
    <dsp:sp modelId="{6DFE7597-AB4B-4D5C-9803-0267CE063464}">
      <dsp:nvSpPr>
        <dsp:cNvPr id="0" name=""/>
        <dsp:cNvSpPr/>
      </dsp:nvSpPr>
      <dsp:spPr>
        <a:xfrm>
          <a:off x="3391175" y="517507"/>
          <a:ext cx="288570" cy="337573"/>
        </a:xfrm>
        <a:prstGeom prst="rightArrow">
          <a:avLst>
            <a:gd name="adj1" fmla="val 60000"/>
            <a:gd name="adj2" fmla="val 50000"/>
          </a:avLst>
        </a:prstGeom>
        <a:solidFill>
          <a:srgbClr val="C0000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3391175" y="585022"/>
        <a:ext cx="201999" cy="202543"/>
      </dsp:txXfrm>
    </dsp:sp>
    <dsp:sp modelId="{8BDBFB12-35C2-431A-A1E6-7128E7FCC869}">
      <dsp:nvSpPr>
        <dsp:cNvPr id="0" name=""/>
        <dsp:cNvSpPr/>
      </dsp:nvSpPr>
      <dsp:spPr>
        <a:xfrm>
          <a:off x="3815864" y="277939"/>
          <a:ext cx="1361182" cy="816709"/>
        </a:xfrm>
        <a:prstGeom prst="flowChartProcess">
          <a:avLst/>
        </a:prstGeom>
        <a:solidFill>
          <a:srgbClr val="C55A1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Threat Modeling</a:t>
          </a:r>
        </a:p>
      </dsp:txBody>
      <dsp:txXfrm>
        <a:off x="3815864" y="277939"/>
        <a:ext cx="1361182" cy="816709"/>
      </dsp:txXfrm>
    </dsp:sp>
    <dsp:sp modelId="{D7D8557D-B6CE-4500-9D29-D3562DD86B5E}">
      <dsp:nvSpPr>
        <dsp:cNvPr id="0" name=""/>
        <dsp:cNvSpPr/>
      </dsp:nvSpPr>
      <dsp:spPr>
        <a:xfrm rot="5400000">
          <a:off x="4352170" y="1189931"/>
          <a:ext cx="288570" cy="337573"/>
        </a:xfrm>
        <a:prstGeom prst="rightArrow">
          <a:avLst>
            <a:gd name="adj1" fmla="val 60000"/>
            <a:gd name="adj2" fmla="val 50000"/>
          </a:avLst>
        </a:prstGeom>
        <a:solidFill>
          <a:srgbClr val="C55A1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4395184" y="1214433"/>
        <a:ext cx="202543" cy="201999"/>
      </dsp:txXfrm>
    </dsp:sp>
    <dsp:sp modelId="{70512178-5514-43C7-B22A-029E13BB831F}">
      <dsp:nvSpPr>
        <dsp:cNvPr id="0" name=""/>
        <dsp:cNvSpPr/>
      </dsp:nvSpPr>
      <dsp:spPr>
        <a:xfrm>
          <a:off x="3815864" y="1639121"/>
          <a:ext cx="1361182" cy="816709"/>
        </a:xfrm>
        <a:prstGeom prst="flowChartProcess">
          <a:avLst/>
        </a:prstGeom>
        <a:solidFill>
          <a:srgbClr val="ED7D3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Vulnerability Analysis</a:t>
          </a:r>
        </a:p>
      </dsp:txBody>
      <dsp:txXfrm>
        <a:off x="3815864" y="1639121"/>
        <a:ext cx="1361182" cy="816709"/>
      </dsp:txXfrm>
    </dsp:sp>
    <dsp:sp modelId="{4B71AFD2-9778-47D5-982A-B12D9D76A0E8}">
      <dsp:nvSpPr>
        <dsp:cNvPr id="0" name=""/>
        <dsp:cNvSpPr/>
      </dsp:nvSpPr>
      <dsp:spPr>
        <a:xfrm rot="10800000">
          <a:off x="3407509" y="1878689"/>
          <a:ext cx="288570" cy="337573"/>
        </a:xfrm>
        <a:prstGeom prst="rightArrow">
          <a:avLst>
            <a:gd name="adj1" fmla="val 60000"/>
            <a:gd name="adj2" fmla="val 50000"/>
          </a:avLst>
        </a:prstGeom>
        <a:solidFill>
          <a:srgbClr val="ED7D3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3494080" y="1946204"/>
        <a:ext cx="201999" cy="202543"/>
      </dsp:txXfrm>
    </dsp:sp>
    <dsp:sp modelId="{35B489AA-AD12-4474-B2BA-B514A5060D7D}">
      <dsp:nvSpPr>
        <dsp:cNvPr id="0" name=""/>
        <dsp:cNvSpPr/>
      </dsp:nvSpPr>
      <dsp:spPr>
        <a:xfrm>
          <a:off x="1910209" y="1639121"/>
          <a:ext cx="1361182" cy="816709"/>
        </a:xfrm>
        <a:prstGeom prst="flowChartProcess">
          <a:avLst/>
        </a:prstGeom>
        <a:solidFill>
          <a:srgbClr val="4472C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Exploitation</a:t>
          </a:r>
        </a:p>
      </dsp:txBody>
      <dsp:txXfrm>
        <a:off x="1910209" y="1639121"/>
        <a:ext cx="1361182" cy="816709"/>
      </dsp:txXfrm>
    </dsp:sp>
    <dsp:sp modelId="{C657CADF-184D-46D8-81B7-A53028B278D6}">
      <dsp:nvSpPr>
        <dsp:cNvPr id="0" name=""/>
        <dsp:cNvSpPr/>
      </dsp:nvSpPr>
      <dsp:spPr>
        <a:xfrm rot="10800000">
          <a:off x="1501854" y="1878689"/>
          <a:ext cx="288570" cy="337573"/>
        </a:xfrm>
        <a:prstGeom prst="rightArrow">
          <a:avLst>
            <a:gd name="adj1" fmla="val 60000"/>
            <a:gd name="adj2" fmla="val 50000"/>
          </a:avLst>
        </a:prstGeom>
        <a:solidFill>
          <a:srgbClr val="4472C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1588425" y="1946204"/>
        <a:ext cx="201999" cy="202543"/>
      </dsp:txXfrm>
    </dsp:sp>
    <dsp:sp modelId="{4FA410D2-4C24-4E6E-B42D-9A2CD4E6128D}">
      <dsp:nvSpPr>
        <dsp:cNvPr id="0" name=""/>
        <dsp:cNvSpPr/>
      </dsp:nvSpPr>
      <dsp:spPr>
        <a:xfrm>
          <a:off x="4554" y="1639121"/>
          <a:ext cx="1361182" cy="816709"/>
        </a:xfrm>
        <a:prstGeom prst="flowChartProcess">
          <a:avLst/>
        </a:prstGeom>
        <a:solidFill>
          <a:schemeClr val="bg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Post-Exploitation</a:t>
          </a:r>
        </a:p>
      </dsp:txBody>
      <dsp:txXfrm>
        <a:off x="4554" y="1639121"/>
        <a:ext cx="1361182" cy="816709"/>
      </dsp:txXfrm>
    </dsp:sp>
    <dsp:sp modelId="{A58DAD09-7CBC-4CCB-A64B-8C2A35E60F7C}">
      <dsp:nvSpPr>
        <dsp:cNvPr id="0" name=""/>
        <dsp:cNvSpPr/>
      </dsp:nvSpPr>
      <dsp:spPr>
        <a:xfrm rot="5400000">
          <a:off x="540859" y="2551113"/>
          <a:ext cx="288570" cy="337573"/>
        </a:xfrm>
        <a:prstGeom prst="rightArrow">
          <a:avLst>
            <a:gd name="adj1" fmla="val 60000"/>
            <a:gd name="adj2" fmla="val 50000"/>
          </a:avLst>
        </a:prstGeom>
        <a:solidFill>
          <a:schemeClr val="bg2">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583873" y="2575615"/>
        <a:ext cx="202543" cy="201999"/>
      </dsp:txXfrm>
    </dsp:sp>
    <dsp:sp modelId="{98289DD9-05EE-4866-8F8D-07D6B807EB08}">
      <dsp:nvSpPr>
        <dsp:cNvPr id="0" name=""/>
        <dsp:cNvSpPr/>
      </dsp:nvSpPr>
      <dsp:spPr>
        <a:xfrm>
          <a:off x="4554" y="3000304"/>
          <a:ext cx="1361182" cy="816709"/>
        </a:xfrm>
        <a:prstGeom prst="flowChartProcess">
          <a:avLst/>
        </a:prstGeom>
        <a:solidFill>
          <a:schemeClr val="bg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Reporting</a:t>
          </a:r>
        </a:p>
      </dsp:txBody>
      <dsp:txXfrm>
        <a:off x="4554" y="3000304"/>
        <a:ext cx="1361182" cy="81670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48B5F1-4181-484D-97DF-A1059982319E}">
      <dsp:nvSpPr>
        <dsp:cNvPr id="0" name=""/>
        <dsp:cNvSpPr/>
      </dsp:nvSpPr>
      <dsp:spPr>
        <a:xfrm>
          <a:off x="-5320601" y="-814819"/>
          <a:ext cx="6335567" cy="6335567"/>
        </a:xfrm>
        <a:prstGeom prst="blockArc">
          <a:avLst>
            <a:gd name="adj1" fmla="val 18900000"/>
            <a:gd name="adj2" fmla="val 2700000"/>
            <a:gd name="adj3" fmla="val 341"/>
          </a:avLst>
        </a:pr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FE06AE1-767E-624A-AB4E-5A10DDCB0E62}">
      <dsp:nvSpPr>
        <dsp:cNvPr id="0" name=""/>
        <dsp:cNvSpPr/>
      </dsp:nvSpPr>
      <dsp:spPr>
        <a:xfrm>
          <a:off x="443856" y="294026"/>
          <a:ext cx="9305353" cy="588429"/>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None/>
          </a:pPr>
          <a:r>
            <a:rPr lang="en-US" sz="1100" b="1" kern="1200"/>
            <a:t>1. Injection</a:t>
          </a:r>
          <a:endParaRPr lang="en-US" sz="900" b="1" kern="1200"/>
        </a:p>
        <a:p>
          <a:pPr marL="134938" lvl="1" indent="-125413" algn="just" defTabSz="488950">
            <a:lnSpc>
              <a:spcPct val="90000"/>
            </a:lnSpc>
            <a:spcBef>
              <a:spcPct val="0"/>
            </a:spcBef>
            <a:spcAft>
              <a:spcPct val="15000"/>
            </a:spcAft>
            <a:buClr>
              <a:schemeClr val="accent6"/>
            </a:buClr>
            <a:buSzPts val="900"/>
            <a:buFont typeface="Arial"/>
            <a:buChar char="►"/>
            <a:tabLst/>
          </a:pPr>
          <a:r>
            <a:rPr lang="en-US" sz="1100" kern="1200"/>
            <a:t>Injection flaws, such as SQL, NoSQL, OS, and LDAP injection, occur when untrusted data is sent to an interpreter as part of a command or query. The attacker’s hostile data can trick the interpreter into executing unintended commands or accessing data without proper authorization. </a:t>
          </a:r>
        </a:p>
      </dsp:txBody>
      <dsp:txXfrm>
        <a:off x="443856" y="294026"/>
        <a:ext cx="9305353" cy="588429"/>
      </dsp:txXfrm>
    </dsp:sp>
    <dsp:sp modelId="{E3AE2878-6229-0441-B393-15734D716D43}">
      <dsp:nvSpPr>
        <dsp:cNvPr id="0" name=""/>
        <dsp:cNvSpPr/>
      </dsp:nvSpPr>
      <dsp:spPr>
        <a:xfrm>
          <a:off x="76087" y="220472"/>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8CE72702-5823-CE45-A333-7FF2F8CC4DDD}">
      <dsp:nvSpPr>
        <dsp:cNvPr id="0" name=""/>
        <dsp:cNvSpPr/>
      </dsp:nvSpPr>
      <dsp:spPr>
        <a:xfrm>
          <a:off x="865507" y="1133918"/>
          <a:ext cx="8883702" cy="673368"/>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None/>
          </a:pPr>
          <a:r>
            <a:rPr lang="en-US" sz="1100" b="1" kern="1200"/>
            <a:t>2. Broken Authentication &amp; Session Management</a:t>
          </a:r>
          <a:endParaRPr lang="en-US" sz="1000" b="1" kern="1200"/>
        </a:p>
        <a:p>
          <a:pPr marL="134938" lvl="1" indent="-125413" algn="just" defTabSz="488950">
            <a:lnSpc>
              <a:spcPct val="90000"/>
            </a:lnSpc>
            <a:spcBef>
              <a:spcPct val="0"/>
            </a:spcBef>
            <a:spcAft>
              <a:spcPct val="15000"/>
            </a:spcAft>
            <a:buClr>
              <a:schemeClr val="accent6"/>
            </a:buClr>
            <a:buSzPts val="900"/>
            <a:buFont typeface="Arial"/>
            <a:buChar char="►"/>
            <a:tabLst/>
          </a:pPr>
          <a:r>
            <a:rPr lang="en-US" sz="1100" kern="1200"/>
            <a:t>Application functions related to authentication and session management are often implemented incorrectly, allowing attackers to compromise passwords, keys, or session tokens, or to exploit other implementation flaws to assume other users’ identities temporarily or permanently. </a:t>
          </a:r>
        </a:p>
      </dsp:txBody>
      <dsp:txXfrm>
        <a:off x="865507" y="1133918"/>
        <a:ext cx="8883702" cy="673368"/>
      </dsp:txXfrm>
    </dsp:sp>
    <dsp:sp modelId="{DC0C40A8-0757-1544-95F4-ABF1324A052D}">
      <dsp:nvSpPr>
        <dsp:cNvPr id="0" name=""/>
        <dsp:cNvSpPr/>
      </dsp:nvSpPr>
      <dsp:spPr>
        <a:xfrm>
          <a:off x="497739" y="1102834"/>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FC810055-A76C-A849-AB76-B9984EF56E99}">
      <dsp:nvSpPr>
        <dsp:cNvPr id="0" name=""/>
        <dsp:cNvSpPr/>
      </dsp:nvSpPr>
      <dsp:spPr>
        <a:xfrm>
          <a:off x="994920" y="2013546"/>
          <a:ext cx="8754289" cy="678835"/>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3. Sensitive Data Exposure</a:t>
          </a:r>
          <a:endParaRPr lang="en-US" sz="1000" b="1" kern="1200"/>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Many web applications and APIs do not properly protect sensitive data, such as financial, healthcare, and PII. Attackers may steal or modify such weakly protected data to conduct credit card fraud, identity theft, and other crimes. Sensitive data may be compromised without extra protection, such as encryption at rest or in transit, and requires special precautions when exchanged with the browser. </a:t>
          </a:r>
          <a:endParaRPr lang="en-US" sz="1050" kern="1200"/>
        </a:p>
      </dsp:txBody>
      <dsp:txXfrm>
        <a:off x="994920" y="2013546"/>
        <a:ext cx="8754289" cy="678835"/>
      </dsp:txXfrm>
    </dsp:sp>
    <dsp:sp modelId="{EDE5AA83-E79B-6249-94F0-2EEF61C4AE9C}">
      <dsp:nvSpPr>
        <dsp:cNvPr id="0" name=""/>
        <dsp:cNvSpPr/>
      </dsp:nvSpPr>
      <dsp:spPr>
        <a:xfrm>
          <a:off x="627152" y="1985195"/>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881F34CF-9AFB-D044-94F0-6E519FC8A228}">
      <dsp:nvSpPr>
        <dsp:cNvPr id="0" name=""/>
        <dsp:cNvSpPr/>
      </dsp:nvSpPr>
      <dsp:spPr>
        <a:xfrm>
          <a:off x="865507" y="2877898"/>
          <a:ext cx="8883702" cy="714853"/>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4. XML External Entities (XXE)</a:t>
          </a:r>
          <a:endParaRPr lang="en-US" sz="1000" b="1" kern="1200"/>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Many older or poorly configured XML processors evaluate external entity references within XML documents. External entities can be used to disclose internal files using the file URI handler, internal file shares, internal port scanning, remote code execution, and denial of service attacks. </a:t>
          </a:r>
        </a:p>
      </dsp:txBody>
      <dsp:txXfrm>
        <a:off x="865507" y="2877898"/>
        <a:ext cx="8883702" cy="714853"/>
      </dsp:txXfrm>
    </dsp:sp>
    <dsp:sp modelId="{2F3E8387-38C3-D549-B9D3-B2B43610CB07}">
      <dsp:nvSpPr>
        <dsp:cNvPr id="0" name=""/>
        <dsp:cNvSpPr/>
      </dsp:nvSpPr>
      <dsp:spPr>
        <a:xfrm>
          <a:off x="497739" y="2867557"/>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3751B8D0-70E9-D741-9C58-528213264916}">
      <dsp:nvSpPr>
        <dsp:cNvPr id="0" name=""/>
        <dsp:cNvSpPr/>
      </dsp:nvSpPr>
      <dsp:spPr>
        <a:xfrm>
          <a:off x="443856" y="3823472"/>
          <a:ext cx="9305353" cy="588429"/>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5. Broken Access Control</a:t>
          </a:r>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Restrictions on what authenticated users are allowed to do are often not properly enforced. Attackers can exploit these flaws to access unauthorized functionality and/or data, such as access other users' accounts, view sensitive files, modify other users’ data, change access rights, etc.</a:t>
          </a:r>
        </a:p>
      </dsp:txBody>
      <dsp:txXfrm>
        <a:off x="443856" y="3823472"/>
        <a:ext cx="9305353" cy="588429"/>
      </dsp:txXfrm>
    </dsp:sp>
    <dsp:sp modelId="{E18C93D3-3D15-4A43-B367-F8768440F9F7}">
      <dsp:nvSpPr>
        <dsp:cNvPr id="0" name=""/>
        <dsp:cNvSpPr/>
      </dsp:nvSpPr>
      <dsp:spPr>
        <a:xfrm>
          <a:off x="76087" y="3749918"/>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46B780-C3A8-4A52-9FD8-B19692CC38C3}">
      <dsp:nvSpPr>
        <dsp:cNvPr id="0" name=""/>
        <dsp:cNvSpPr/>
      </dsp:nvSpPr>
      <dsp:spPr>
        <a:xfrm>
          <a:off x="2263291" y="1769805"/>
          <a:ext cx="1104959" cy="1104959"/>
        </a:xfrm>
        <a:prstGeom prst="ellipse">
          <a:avLst/>
        </a:prstGeom>
        <a:solidFill>
          <a:srgbClr val="4F81B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Mobile Penetration Test</a:t>
          </a:r>
        </a:p>
      </dsp:txBody>
      <dsp:txXfrm>
        <a:off x="2425108" y="1931622"/>
        <a:ext cx="781325" cy="781325"/>
      </dsp:txXfrm>
    </dsp:sp>
    <dsp:sp modelId="{8F9DE843-E1BF-477E-B093-53D980A470CB}">
      <dsp:nvSpPr>
        <dsp:cNvPr id="0" name=""/>
        <dsp:cNvSpPr/>
      </dsp:nvSpPr>
      <dsp:spPr>
        <a:xfrm rot="16200000">
          <a:off x="2585716" y="1160919"/>
          <a:ext cx="460109" cy="375686"/>
        </a:xfrm>
        <a:prstGeom prst="rightArrow">
          <a:avLst>
            <a:gd name="adj1" fmla="val 60000"/>
            <a:gd name="adj2" fmla="val 50000"/>
          </a:avLst>
        </a:prstGeom>
        <a:solidFill>
          <a:srgbClr val="C0504D">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2642069" y="1292409"/>
        <a:ext cx="347403" cy="225412"/>
      </dsp:txXfrm>
    </dsp:sp>
    <dsp:sp modelId="{857BF3F9-FB6F-4045-96C7-A6AF2A511919}">
      <dsp:nvSpPr>
        <dsp:cNvPr id="0" name=""/>
        <dsp:cNvSpPr/>
      </dsp:nvSpPr>
      <dsp:spPr>
        <a:xfrm>
          <a:off x="2373787" y="17708"/>
          <a:ext cx="883967" cy="883967"/>
        </a:xfrm>
        <a:prstGeom prst="ellipse">
          <a:avLst/>
        </a:prstGeom>
        <a:solidFill>
          <a:srgbClr val="C0504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mproper Platform Usage </a:t>
          </a:r>
        </a:p>
      </dsp:txBody>
      <dsp:txXfrm>
        <a:off x="2503241" y="147162"/>
        <a:ext cx="625059" cy="625059"/>
      </dsp:txXfrm>
    </dsp:sp>
    <dsp:sp modelId="{2D877664-01F4-47E2-8FD6-3C6D4F959212}">
      <dsp:nvSpPr>
        <dsp:cNvPr id="0" name=""/>
        <dsp:cNvSpPr/>
      </dsp:nvSpPr>
      <dsp:spPr>
        <a:xfrm rot="18360000">
          <a:off x="3157939" y="1346845"/>
          <a:ext cx="460109" cy="375686"/>
        </a:xfrm>
        <a:prstGeom prst="rightArrow">
          <a:avLst>
            <a:gd name="adj1" fmla="val 60000"/>
            <a:gd name="adj2" fmla="val 50000"/>
          </a:avLst>
        </a:prstGeom>
        <a:solidFill>
          <a:srgbClr val="9BBB59">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181169" y="1467573"/>
        <a:ext cx="347403" cy="225412"/>
      </dsp:txXfrm>
    </dsp:sp>
    <dsp:sp modelId="{7D811323-4AB8-4554-B984-8857CC9F496F}">
      <dsp:nvSpPr>
        <dsp:cNvPr id="0" name=""/>
        <dsp:cNvSpPr/>
      </dsp:nvSpPr>
      <dsp:spPr>
        <a:xfrm>
          <a:off x="3468592" y="373431"/>
          <a:ext cx="883967" cy="883967"/>
        </a:xfrm>
        <a:prstGeom prst="ellipse">
          <a:avLst/>
        </a:prstGeom>
        <a:solidFill>
          <a:srgbClr val="9BBB59">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Data Storage</a:t>
          </a:r>
        </a:p>
      </dsp:txBody>
      <dsp:txXfrm>
        <a:off x="3598046" y="502885"/>
        <a:ext cx="625059" cy="625059"/>
      </dsp:txXfrm>
    </dsp:sp>
    <dsp:sp modelId="{085F7B28-D790-47E6-B264-3E70188BF55A}">
      <dsp:nvSpPr>
        <dsp:cNvPr id="0" name=""/>
        <dsp:cNvSpPr/>
      </dsp:nvSpPr>
      <dsp:spPr>
        <a:xfrm rot="20520000">
          <a:off x="3511592" y="1833607"/>
          <a:ext cx="460109" cy="375686"/>
        </a:xfrm>
        <a:prstGeom prst="rightArrow">
          <a:avLst>
            <a:gd name="adj1" fmla="val 60000"/>
            <a:gd name="adj2" fmla="val 50000"/>
          </a:avLst>
        </a:prstGeom>
        <a:solidFill>
          <a:srgbClr val="8064A2">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514350" y="1926158"/>
        <a:ext cx="347403" cy="225412"/>
      </dsp:txXfrm>
    </dsp:sp>
    <dsp:sp modelId="{21703973-86A1-4836-B0BF-0BA124B429C5}">
      <dsp:nvSpPr>
        <dsp:cNvPr id="0" name=""/>
        <dsp:cNvSpPr/>
      </dsp:nvSpPr>
      <dsp:spPr>
        <a:xfrm>
          <a:off x="4145219" y="1304728"/>
          <a:ext cx="883967" cy="883967"/>
        </a:xfrm>
        <a:prstGeom prst="ellipse">
          <a:avLst/>
        </a:prstGeom>
        <a:solidFill>
          <a:srgbClr val="8064A2">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Communication</a:t>
          </a:r>
        </a:p>
      </dsp:txBody>
      <dsp:txXfrm>
        <a:off x="4274673" y="1434182"/>
        <a:ext cx="625059" cy="625059"/>
      </dsp:txXfrm>
    </dsp:sp>
    <dsp:sp modelId="{61EAF171-EE8C-47FD-99F3-36DD495FA75C}">
      <dsp:nvSpPr>
        <dsp:cNvPr id="0" name=""/>
        <dsp:cNvSpPr/>
      </dsp:nvSpPr>
      <dsp:spPr>
        <a:xfrm rot="1080000">
          <a:off x="3511592" y="2435277"/>
          <a:ext cx="460109" cy="375686"/>
        </a:xfrm>
        <a:prstGeom prst="rightArrow">
          <a:avLst>
            <a:gd name="adj1" fmla="val 60000"/>
            <a:gd name="adj2" fmla="val 50000"/>
          </a:avLst>
        </a:prstGeom>
        <a:solidFill>
          <a:srgbClr val="4BACC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514350" y="2493000"/>
        <a:ext cx="347403" cy="225412"/>
      </dsp:txXfrm>
    </dsp:sp>
    <dsp:sp modelId="{298A2EF8-427D-42B1-99AE-91B2F41C8A24}">
      <dsp:nvSpPr>
        <dsp:cNvPr id="0" name=""/>
        <dsp:cNvSpPr/>
      </dsp:nvSpPr>
      <dsp:spPr>
        <a:xfrm>
          <a:off x="4145219" y="2455874"/>
          <a:ext cx="883967" cy="883967"/>
        </a:xfrm>
        <a:prstGeom prst="ellipse">
          <a:avLst/>
        </a:prstGeom>
        <a:solidFill>
          <a:srgbClr val="4BACC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Authentication</a:t>
          </a:r>
        </a:p>
      </dsp:txBody>
      <dsp:txXfrm>
        <a:off x="4274673" y="2585328"/>
        <a:ext cx="625059" cy="625059"/>
      </dsp:txXfrm>
    </dsp:sp>
    <dsp:sp modelId="{E0E8CA51-B39C-4608-9267-AB366E0B32E6}">
      <dsp:nvSpPr>
        <dsp:cNvPr id="0" name=""/>
        <dsp:cNvSpPr/>
      </dsp:nvSpPr>
      <dsp:spPr>
        <a:xfrm rot="3240000">
          <a:off x="3157939" y="2922038"/>
          <a:ext cx="460109" cy="375686"/>
        </a:xfrm>
        <a:prstGeom prst="rightArrow">
          <a:avLst>
            <a:gd name="adj1" fmla="val 60000"/>
            <a:gd name="adj2" fmla="val 50000"/>
          </a:avLst>
        </a:prstGeom>
        <a:solidFill>
          <a:srgbClr val="F7964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181169" y="2951584"/>
        <a:ext cx="347403" cy="225412"/>
      </dsp:txXfrm>
    </dsp:sp>
    <dsp:sp modelId="{61624398-D423-44E0-A84F-95CC570CA524}">
      <dsp:nvSpPr>
        <dsp:cNvPr id="0" name=""/>
        <dsp:cNvSpPr/>
      </dsp:nvSpPr>
      <dsp:spPr>
        <a:xfrm>
          <a:off x="3468592" y="3387171"/>
          <a:ext cx="883967" cy="883967"/>
        </a:xfrm>
        <a:prstGeom prst="ellipse">
          <a:avLst/>
        </a:prstGeom>
        <a:solidFill>
          <a:srgbClr val="F7964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ufficient Cryptography</a:t>
          </a:r>
        </a:p>
      </dsp:txBody>
      <dsp:txXfrm>
        <a:off x="3598046" y="3516625"/>
        <a:ext cx="625059" cy="625059"/>
      </dsp:txXfrm>
    </dsp:sp>
    <dsp:sp modelId="{187925BA-783A-4B59-BF16-01CD46D4575C}">
      <dsp:nvSpPr>
        <dsp:cNvPr id="0" name=""/>
        <dsp:cNvSpPr/>
      </dsp:nvSpPr>
      <dsp:spPr>
        <a:xfrm rot="5400000">
          <a:off x="2585716" y="3107965"/>
          <a:ext cx="460109" cy="375686"/>
        </a:xfrm>
        <a:prstGeom prst="rightArrow">
          <a:avLst>
            <a:gd name="adj1" fmla="val 60000"/>
            <a:gd name="adj2" fmla="val 50000"/>
          </a:avLst>
        </a:prstGeom>
        <a:solidFill>
          <a:srgbClr val="C0504D">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2642069" y="3126749"/>
        <a:ext cx="347403" cy="225412"/>
      </dsp:txXfrm>
    </dsp:sp>
    <dsp:sp modelId="{DD4FAA5A-BF7C-415D-BB67-E88045B68D5B}">
      <dsp:nvSpPr>
        <dsp:cNvPr id="0" name=""/>
        <dsp:cNvSpPr/>
      </dsp:nvSpPr>
      <dsp:spPr>
        <a:xfrm>
          <a:off x="2373787" y="3742895"/>
          <a:ext cx="883967" cy="883967"/>
        </a:xfrm>
        <a:prstGeom prst="ellipse">
          <a:avLst/>
        </a:prstGeom>
        <a:solidFill>
          <a:srgbClr val="C0504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Authorization</a:t>
          </a:r>
        </a:p>
      </dsp:txBody>
      <dsp:txXfrm>
        <a:off x="2503241" y="3872349"/>
        <a:ext cx="625059" cy="625059"/>
      </dsp:txXfrm>
    </dsp:sp>
    <dsp:sp modelId="{53055EC5-C081-4136-867F-D146942D4538}">
      <dsp:nvSpPr>
        <dsp:cNvPr id="0" name=""/>
        <dsp:cNvSpPr/>
      </dsp:nvSpPr>
      <dsp:spPr>
        <a:xfrm rot="7560000">
          <a:off x="2013494" y="2922038"/>
          <a:ext cx="460109" cy="375686"/>
        </a:xfrm>
        <a:prstGeom prst="rightArrow">
          <a:avLst>
            <a:gd name="adj1" fmla="val 60000"/>
            <a:gd name="adj2" fmla="val 50000"/>
          </a:avLst>
        </a:prstGeom>
        <a:solidFill>
          <a:srgbClr val="9BBB59">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2102970" y="2951584"/>
        <a:ext cx="347403" cy="225412"/>
      </dsp:txXfrm>
    </dsp:sp>
    <dsp:sp modelId="{EBEE4CC0-26E9-4463-850B-D08CBB7EE58F}">
      <dsp:nvSpPr>
        <dsp:cNvPr id="0" name=""/>
        <dsp:cNvSpPr/>
      </dsp:nvSpPr>
      <dsp:spPr>
        <a:xfrm>
          <a:off x="1278982" y="3387171"/>
          <a:ext cx="883967" cy="883967"/>
        </a:xfrm>
        <a:prstGeom prst="ellipse">
          <a:avLst/>
        </a:prstGeom>
        <a:solidFill>
          <a:srgbClr val="9BBB59">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Poor Code Quality</a:t>
          </a:r>
        </a:p>
      </dsp:txBody>
      <dsp:txXfrm>
        <a:off x="1408436" y="3516625"/>
        <a:ext cx="625059" cy="625059"/>
      </dsp:txXfrm>
    </dsp:sp>
    <dsp:sp modelId="{A37BE2D8-42DC-4EA4-8F7B-F46F99196271}">
      <dsp:nvSpPr>
        <dsp:cNvPr id="0" name=""/>
        <dsp:cNvSpPr/>
      </dsp:nvSpPr>
      <dsp:spPr>
        <a:xfrm rot="9720000">
          <a:off x="1659841" y="2435277"/>
          <a:ext cx="460109" cy="375686"/>
        </a:xfrm>
        <a:prstGeom prst="rightArrow">
          <a:avLst>
            <a:gd name="adj1" fmla="val 60000"/>
            <a:gd name="adj2" fmla="val 50000"/>
          </a:avLst>
        </a:prstGeom>
        <a:solidFill>
          <a:srgbClr val="8064A2">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1769789" y="2493000"/>
        <a:ext cx="347403" cy="225412"/>
      </dsp:txXfrm>
    </dsp:sp>
    <dsp:sp modelId="{9B8C7F34-F250-4BE7-BA57-A0027446C2A1}">
      <dsp:nvSpPr>
        <dsp:cNvPr id="0" name=""/>
        <dsp:cNvSpPr/>
      </dsp:nvSpPr>
      <dsp:spPr>
        <a:xfrm>
          <a:off x="602356" y="2455874"/>
          <a:ext cx="883967" cy="883967"/>
        </a:xfrm>
        <a:prstGeom prst="ellipse">
          <a:avLst/>
        </a:prstGeom>
        <a:solidFill>
          <a:srgbClr val="8064A2">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Code Tampering</a:t>
          </a:r>
        </a:p>
      </dsp:txBody>
      <dsp:txXfrm>
        <a:off x="731810" y="2585328"/>
        <a:ext cx="625059" cy="625059"/>
      </dsp:txXfrm>
    </dsp:sp>
    <dsp:sp modelId="{5051BB0A-9A7F-405D-9B60-F324F9194952}">
      <dsp:nvSpPr>
        <dsp:cNvPr id="0" name=""/>
        <dsp:cNvSpPr/>
      </dsp:nvSpPr>
      <dsp:spPr>
        <a:xfrm rot="11880000">
          <a:off x="1659841" y="1833607"/>
          <a:ext cx="460109" cy="375686"/>
        </a:xfrm>
        <a:prstGeom prst="rightArrow">
          <a:avLst>
            <a:gd name="adj1" fmla="val 60000"/>
            <a:gd name="adj2" fmla="val 50000"/>
          </a:avLst>
        </a:prstGeom>
        <a:solidFill>
          <a:srgbClr val="4BACC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1769789" y="1926158"/>
        <a:ext cx="347403" cy="225412"/>
      </dsp:txXfrm>
    </dsp:sp>
    <dsp:sp modelId="{26F42865-193D-4442-9AA2-9D4C932688A6}">
      <dsp:nvSpPr>
        <dsp:cNvPr id="0" name=""/>
        <dsp:cNvSpPr/>
      </dsp:nvSpPr>
      <dsp:spPr>
        <a:xfrm>
          <a:off x="602356" y="1304728"/>
          <a:ext cx="883967" cy="883967"/>
        </a:xfrm>
        <a:prstGeom prst="ellipse">
          <a:avLst/>
        </a:prstGeom>
        <a:solidFill>
          <a:srgbClr val="4BACC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Reverse Engineering</a:t>
          </a:r>
        </a:p>
      </dsp:txBody>
      <dsp:txXfrm>
        <a:off x="731810" y="1434182"/>
        <a:ext cx="625059" cy="625059"/>
      </dsp:txXfrm>
    </dsp:sp>
    <dsp:sp modelId="{C63AEBF3-94FC-42FF-8028-4E05F4C86BF7}">
      <dsp:nvSpPr>
        <dsp:cNvPr id="0" name=""/>
        <dsp:cNvSpPr/>
      </dsp:nvSpPr>
      <dsp:spPr>
        <a:xfrm rot="14040000">
          <a:off x="2013494" y="1346845"/>
          <a:ext cx="460109" cy="375686"/>
        </a:xfrm>
        <a:prstGeom prst="rightArrow">
          <a:avLst>
            <a:gd name="adj1" fmla="val 60000"/>
            <a:gd name="adj2" fmla="val 50000"/>
          </a:avLst>
        </a:prstGeom>
        <a:solidFill>
          <a:srgbClr val="F7964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2102970" y="1467573"/>
        <a:ext cx="347403" cy="225412"/>
      </dsp:txXfrm>
    </dsp:sp>
    <dsp:sp modelId="{F0A0C56A-5ADA-48C2-B97A-DC1FCDD8D797}">
      <dsp:nvSpPr>
        <dsp:cNvPr id="0" name=""/>
        <dsp:cNvSpPr/>
      </dsp:nvSpPr>
      <dsp:spPr>
        <a:xfrm>
          <a:off x="1278982" y="373431"/>
          <a:ext cx="883967" cy="883967"/>
        </a:xfrm>
        <a:prstGeom prst="ellipse">
          <a:avLst/>
        </a:prstGeom>
        <a:solidFill>
          <a:srgbClr val="F7964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Extraneous Functionality</a:t>
          </a:r>
        </a:p>
      </dsp:txBody>
      <dsp:txXfrm>
        <a:off x="1408436" y="502885"/>
        <a:ext cx="625059" cy="625059"/>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0/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0/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49890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10634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67260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97159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4578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37327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2382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06620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03155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F90F3F-D851-1575-560B-2CA2AA62F9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6E7B9B-37E6-26CE-4E8A-B32C540B4F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538373-900A-6837-3FB6-4EB577B233B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57B7EDE-9877-58C8-78A2-081DC5905F7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AF1B9B5C-49A1-959D-8B3A-081E50FBF09B}"/>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24720068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8</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1267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27072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7" name="Rectangle 6"/>
          <p:cNvSpPr>
            <a:spLocks noChangeAspect="1"/>
          </p:cNvSpPr>
          <p:nvPr/>
        </p:nvSpPr>
        <p:spPr>
          <a:xfrm>
            <a:off x="440286" y="603390"/>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702156"/>
            <a:ext cx="11029616" cy="1013800"/>
          </a:xfrm>
        </p:spPr>
        <p:txBody>
          <a:bodyPr/>
          <a:lstStyle/>
          <a:p>
            <a:r>
              <a:rPr lang="en-US"/>
              <a:t>Click to edit Master title style</a:t>
            </a:r>
          </a:p>
        </p:txBody>
      </p:sp>
      <p:sp>
        <p:nvSpPr>
          <p:cNvPr id="3" name="Content Placeholder 2"/>
          <p:cNvSpPr>
            <a:spLocks noGrp="1"/>
          </p:cNvSpPr>
          <p:nvPr>
            <p:ph idx="1"/>
          </p:nvPr>
        </p:nvSpPr>
        <p:spPr>
          <a:xfrm>
            <a:off x="581192" y="2180496"/>
            <a:ext cx="11029615" cy="36783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SA"/>
          </a:p>
        </p:txBody>
      </p:sp>
      <p:pic>
        <p:nvPicPr>
          <p:cNvPr id="8" name="Picture 7" descr="Text, logo&#10;&#10;Description automatically generated">
            <a:extLst>
              <a:ext uri="{FF2B5EF4-FFF2-40B4-BE49-F238E27FC236}">
                <a16:creationId xmlns:a16="http://schemas.microsoft.com/office/drawing/2014/main" id="{04CDF9F7-92B2-B6AC-EAAB-F6725C277C9C}"/>
              </a:ext>
            </a:extLst>
          </p:cNvPr>
          <p:cNvPicPr>
            <a:picLocks noChangeAspect="1"/>
          </p:cNvPicPr>
          <p:nvPr userDrawn="1"/>
        </p:nvPicPr>
        <p:blipFill>
          <a:blip r:embed="rId2"/>
          <a:stretch>
            <a:fillRect/>
          </a:stretch>
        </p:blipFill>
        <p:spPr>
          <a:xfrm>
            <a:off x="298621" y="109001"/>
            <a:ext cx="1005659" cy="299845"/>
          </a:xfrm>
          <a:prstGeom prst="rect">
            <a:avLst/>
          </a:prstGeom>
        </p:spPr>
      </p:pic>
    </p:spTree>
    <p:extLst>
      <p:ext uri="{BB962C8B-B14F-4D97-AF65-F5344CB8AC3E}">
        <p14:creationId xmlns:p14="http://schemas.microsoft.com/office/powerpoint/2010/main" val="42610264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2804077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6.xml"/><Relationship Id="rId10" Type="http://schemas.openxmlformats.org/officeDocument/2006/relationships/slideLayout" Target="../slideLayouts/slideLayout25.xml"/><Relationship Id="rId11" Type="http://schemas.openxmlformats.org/officeDocument/2006/relationships/slideLayout" Target="../slideLayouts/slideLayout26.xml"/><Relationship Id="rId12" Type="http://schemas.openxmlformats.org/officeDocument/2006/relationships/slideLayout" Target="../slideLayouts/slideLayout27.xml"/><Relationship Id="rId13" Type="http://schemas.openxmlformats.org/officeDocument/2006/relationships/slideLayout" Target="../slideLayouts/slideLayout28.xml"/><Relationship Id="rId14" Type="http://schemas.openxmlformats.org/officeDocument/2006/relationships/theme" Target="../theme/theme2.xml"/><Relationship Id="rId2" Type="http://schemas.openxmlformats.org/officeDocument/2006/relationships/slideLayout" Target="../slideLayouts/slideLayout17.xml"/><Relationship Id="rId3" Type="http://schemas.openxmlformats.org/officeDocument/2006/relationships/slideLayout" Target="../slideLayouts/slideLayout18.xml"/><Relationship Id="rId4" Type="http://schemas.openxmlformats.org/officeDocument/2006/relationships/slideLayout" Target="../slideLayouts/slideLayout19.xml"/><Relationship Id="rId5" Type="http://schemas.openxmlformats.org/officeDocument/2006/relationships/slideLayout" Target="../slideLayouts/slideLayout20.xml"/><Relationship Id="rId6" Type="http://schemas.openxmlformats.org/officeDocument/2006/relationships/slideLayout" Target="../slideLayouts/slideLayout21.xml"/><Relationship Id="rId7" Type="http://schemas.openxmlformats.org/officeDocument/2006/relationships/slideLayout" Target="../slideLayouts/slideLayout22.xml"/><Relationship Id="rId8" Type="http://schemas.openxmlformats.org/officeDocument/2006/relationships/slideLayout" Target="../slideLayouts/slideLayout23.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697" r:id="rId14"/>
    <p:sldLayoutId id="2147483715" r:id="rId15"/>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image" Target="../media/image3.jpeg"/><Relationship Id="rId3"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18" Type="http://schemas.openxmlformats.org/officeDocument/2006/relationships/image" Target="../media/image26.png"/><Relationship Id="rId19" Type="http://schemas.openxmlformats.org/officeDocument/2006/relationships/image" Target="../media/image27.jpeg"/><Relationship Id="rId2" Type="http://schemas.openxmlformats.org/officeDocument/2006/relationships/image" Target="../media/image13.png"/><Relationship Id="rId20" Type="http://schemas.openxmlformats.org/officeDocument/2006/relationships/image" Target="../media/image28.jpeg"/><Relationship Id="rId21" Type="http://schemas.openxmlformats.org/officeDocument/2006/relationships/image" Target="../media/image29.png"/><Relationship Id="rId22" Type="http://schemas.microsoft.com/office/2007/relationships/hdphoto" Target="../media/hdphoto6.wdp"/><Relationship Id="rId23" Type="http://schemas.openxmlformats.org/officeDocument/2006/relationships/image" Target="../media/image30.png"/><Relationship Id="rId24" Type="http://schemas.microsoft.com/office/2007/relationships/hdphoto" Target="../media/hdphoto7.wdp"/><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31.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32.png"/><Relationship Id="rId4" Type="http://schemas.microsoft.com/office/2007/relationships/hdphoto" Target="../media/hdphoto8.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10.wdp"/><Relationship Id="rId11" Type="http://schemas.openxmlformats.org/officeDocument/2006/relationships/image" Target="../media/image40.png"/><Relationship Id="rId12" Type="http://schemas.openxmlformats.org/officeDocument/2006/relationships/image" Target="../media/image41.png"/><Relationship Id="rId13" Type="http://schemas.microsoft.com/office/2007/relationships/hdphoto" Target="../media/hdphoto11.wdp"/><Relationship Id="rId14" Type="http://schemas.openxmlformats.org/officeDocument/2006/relationships/image" Target="../media/image42.png"/><Relationship Id="rId15" Type="http://schemas.openxmlformats.org/officeDocument/2006/relationships/image" Target="../media/image43.png"/><Relationship Id="rId16" Type="http://schemas.openxmlformats.org/officeDocument/2006/relationships/image" Target="../media/image44.png"/><Relationship Id="rId17" Type="http://schemas.microsoft.com/office/2007/relationships/hdphoto" Target="../media/hdphoto12.wdp"/><Relationship Id="rId18" Type="http://schemas.openxmlformats.org/officeDocument/2006/relationships/image" Target="../media/image45.png"/><Relationship Id="rId19" Type="http://schemas.openxmlformats.org/officeDocument/2006/relationships/image" Target="../media/image46.png"/><Relationship Id="rId2" Type="http://schemas.openxmlformats.org/officeDocument/2006/relationships/image" Target="../media/image33.png"/><Relationship Id="rId20" Type="http://schemas.openxmlformats.org/officeDocument/2006/relationships/image" Target="../media/image47.png"/><Relationship Id="rId21" Type="http://schemas.openxmlformats.org/officeDocument/2006/relationships/image" Target="../media/image48.png"/><Relationship Id="rId22" Type="http://schemas.microsoft.com/office/2007/relationships/hdphoto" Target="../media/hdphoto13.wdp"/><Relationship Id="rId3" Type="http://schemas.openxmlformats.org/officeDocument/2006/relationships/image" Target="../media/image34.png"/><Relationship Id="rId4" Type="http://schemas.microsoft.com/office/2007/relationships/hdphoto" Target="../media/hdphoto9.wdp"/><Relationship Id="rId5" Type="http://schemas.openxmlformats.org/officeDocument/2006/relationships/image" Target="../media/image35.png"/><Relationship Id="rId6" Type="http://schemas.openxmlformats.org/officeDocument/2006/relationships/image" Target="../media/image36.png"/><Relationship Id="rId7" Type="http://schemas.openxmlformats.org/officeDocument/2006/relationships/image" Target="../media/image37.png"/><Relationship Id="rId8" Type="http://schemas.openxmlformats.org/officeDocument/2006/relationships/image" Target="../media/image38.png"/><Relationship Id="rId9" Type="http://schemas.openxmlformats.org/officeDocument/2006/relationships/image" Target="../media/image39.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16.wdp"/><Relationship Id="rId11" Type="http://schemas.openxmlformats.org/officeDocument/2006/relationships/image" Target="../media/image54.png"/><Relationship Id="rId12" Type="http://schemas.microsoft.com/office/2007/relationships/hdphoto" Target="../media/hdphoto17.wdp"/><Relationship Id="rId13" Type="http://schemas.openxmlformats.org/officeDocument/2006/relationships/image" Target="../media/image55.png"/><Relationship Id="rId14" Type="http://schemas.microsoft.com/office/2007/relationships/hdphoto" Target="../media/hdphoto18.wdp"/><Relationship Id="rId15" Type="http://schemas.openxmlformats.org/officeDocument/2006/relationships/image" Target="../media/image56.png"/><Relationship Id="rId16" Type="http://schemas.microsoft.com/office/2007/relationships/hdphoto" Target="../media/hdphoto19.wdp"/><Relationship Id="rId2" Type="http://schemas.openxmlformats.org/officeDocument/2006/relationships/image" Target="../media/image49.png"/><Relationship Id="rId3" Type="http://schemas.openxmlformats.org/officeDocument/2006/relationships/image" Target="../media/image50.png"/><Relationship Id="rId4" Type="http://schemas.microsoft.com/office/2007/relationships/hdphoto" Target="../media/hdphoto14.wdp"/><Relationship Id="rId5" Type="http://schemas.openxmlformats.org/officeDocument/2006/relationships/image" Target="../media/image40.png"/><Relationship Id="rId6" Type="http://schemas.openxmlformats.org/officeDocument/2006/relationships/image" Target="../media/image51.png"/><Relationship Id="rId7" Type="http://schemas.openxmlformats.org/officeDocument/2006/relationships/image" Target="../media/image52.png"/><Relationship Id="rId8" Type="http://schemas.microsoft.com/office/2007/relationships/hdphoto" Target="../media/hdphoto15.wdp"/><Relationship Id="rId9" Type="http://schemas.openxmlformats.org/officeDocument/2006/relationships/image" Target="../media/image5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64.png"/><Relationship Id="rId11" Type="http://schemas.microsoft.com/office/2007/relationships/hdphoto" Target="../media/hdphoto20.wdp"/><Relationship Id="rId12" Type="http://schemas.openxmlformats.org/officeDocument/2006/relationships/image" Target="../media/image65.png"/><Relationship Id="rId13" Type="http://schemas.microsoft.com/office/2007/relationships/hdphoto" Target="../media/hdphoto21.wdp"/><Relationship Id="rId14" Type="http://schemas.openxmlformats.org/officeDocument/2006/relationships/image" Target="../media/image66.png"/><Relationship Id="rId15" Type="http://schemas.microsoft.com/office/2007/relationships/hdphoto" Target="../media/hdphoto22.wdp"/><Relationship Id="rId16" Type="http://schemas.openxmlformats.org/officeDocument/2006/relationships/image" Target="../media/image67.png"/><Relationship Id="rId17" Type="http://schemas.openxmlformats.org/officeDocument/2006/relationships/image" Target="../media/image68.png"/><Relationship Id="rId18" Type="http://schemas.microsoft.com/office/2007/relationships/hdphoto" Target="../media/hdphoto23.wdp"/><Relationship Id="rId19" Type="http://schemas.openxmlformats.org/officeDocument/2006/relationships/image" Target="../media/image69.png"/><Relationship Id="rId2" Type="http://schemas.openxmlformats.org/officeDocument/2006/relationships/image" Target="../media/image57.png"/><Relationship Id="rId20" Type="http://schemas.microsoft.com/office/2007/relationships/hdphoto" Target="../media/hdphoto24.wdp"/><Relationship Id="rId21" Type="http://schemas.openxmlformats.org/officeDocument/2006/relationships/image" Target="../media/image70.png"/><Relationship Id="rId22" Type="http://schemas.microsoft.com/office/2007/relationships/hdphoto" Target="../media/hdphoto25.wdp"/><Relationship Id="rId23" Type="http://schemas.openxmlformats.org/officeDocument/2006/relationships/image" Target="../media/image71.png"/><Relationship Id="rId24" Type="http://schemas.microsoft.com/office/2007/relationships/hdphoto" Target="../media/hdphoto26.wdp"/><Relationship Id="rId25" Type="http://schemas.openxmlformats.org/officeDocument/2006/relationships/image" Target="../media/image72.png"/><Relationship Id="rId26" Type="http://schemas.microsoft.com/office/2007/relationships/hdphoto" Target="../media/hdphoto27.wdp"/><Relationship Id="rId27" Type="http://schemas.openxmlformats.org/officeDocument/2006/relationships/image" Target="../media/image73.png"/><Relationship Id="rId28" Type="http://schemas.openxmlformats.org/officeDocument/2006/relationships/image" Target="../media/image74.png"/><Relationship Id="rId29" Type="http://schemas.openxmlformats.org/officeDocument/2006/relationships/image" Target="../media/image75.png"/><Relationship Id="rId3" Type="http://schemas.openxmlformats.org/officeDocument/2006/relationships/image" Target="../media/image40.png"/><Relationship Id="rId30" Type="http://schemas.microsoft.com/office/2007/relationships/hdphoto" Target="../media/hdphoto28.wdp"/><Relationship Id="rId31" Type="http://schemas.openxmlformats.org/officeDocument/2006/relationships/image" Target="../media/image76.png"/><Relationship Id="rId32" Type="http://schemas.openxmlformats.org/officeDocument/2006/relationships/image" Target="../media/image77.svg"/><Relationship Id="rId33" Type="http://schemas.openxmlformats.org/officeDocument/2006/relationships/image" Target="../media/image78.png"/><Relationship Id="rId34" Type="http://schemas.microsoft.com/office/2007/relationships/hdphoto" Target="../media/hdphoto29.wdp"/><Relationship Id="rId35" Type="http://schemas.openxmlformats.org/officeDocument/2006/relationships/image" Target="../media/image79.png"/><Relationship Id="rId36" Type="http://schemas.microsoft.com/office/2007/relationships/hdphoto" Target="../media/hdphoto30.wdp"/><Relationship Id="rId37" Type="http://schemas.openxmlformats.org/officeDocument/2006/relationships/image" Target="../media/image80.png"/><Relationship Id="rId38" Type="http://schemas.openxmlformats.org/officeDocument/2006/relationships/image" Target="../media/image81.png"/><Relationship Id="rId39" Type="http://schemas.microsoft.com/office/2007/relationships/hdphoto" Target="../media/hdphoto31.wdp"/><Relationship Id="rId4" Type="http://schemas.openxmlformats.org/officeDocument/2006/relationships/image" Target="../media/image58.png"/><Relationship Id="rId40" Type="http://schemas.openxmlformats.org/officeDocument/2006/relationships/image" Target="../media/image82.png"/><Relationship Id="rId41" Type="http://schemas.openxmlformats.org/officeDocument/2006/relationships/image" Target="../media/image83.png"/><Relationship Id="rId42" Type="http://schemas.openxmlformats.org/officeDocument/2006/relationships/image" Target="../media/image84.png"/><Relationship Id="rId43" Type="http://schemas.openxmlformats.org/officeDocument/2006/relationships/image" Target="../media/image85.png"/><Relationship Id="rId44" Type="http://schemas.microsoft.com/office/2007/relationships/hdphoto" Target="../media/hdphoto32.wdp"/><Relationship Id="rId45" Type="http://schemas.openxmlformats.org/officeDocument/2006/relationships/image" Target="../media/image86.png"/><Relationship Id="rId46" Type="http://schemas.microsoft.com/office/2007/relationships/hdphoto" Target="../media/hdphoto33.wdp"/><Relationship Id="rId47" Type="http://schemas.openxmlformats.org/officeDocument/2006/relationships/image" Target="../media/image87.png"/><Relationship Id="rId48" Type="http://schemas.openxmlformats.org/officeDocument/2006/relationships/image" Target="../media/image88.png"/><Relationship Id="rId49" Type="http://schemas.microsoft.com/office/2007/relationships/hdphoto" Target="../media/hdphoto34.wdp"/><Relationship Id="rId5" Type="http://schemas.openxmlformats.org/officeDocument/2006/relationships/image" Target="../media/image59.png"/><Relationship Id="rId6" Type="http://schemas.openxmlformats.org/officeDocument/2006/relationships/image" Target="../media/image60.png"/><Relationship Id="rId7" Type="http://schemas.openxmlformats.org/officeDocument/2006/relationships/image" Target="../media/image61.png"/><Relationship Id="rId8" Type="http://schemas.openxmlformats.org/officeDocument/2006/relationships/image" Target="../media/image62.emf"/><Relationship Id="rId9" Type="http://schemas.openxmlformats.org/officeDocument/2006/relationships/image" Target="../media/image6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93.png"/><Relationship Id="rId11" Type="http://schemas.openxmlformats.org/officeDocument/2006/relationships/image" Target="../media/image94.png"/><Relationship Id="rId12" Type="http://schemas.microsoft.com/office/2007/relationships/hdphoto" Target="../media/hdphoto38.wdp"/><Relationship Id="rId13" Type="http://schemas.openxmlformats.org/officeDocument/2006/relationships/image" Target="../media/image95.png"/><Relationship Id="rId14" Type="http://schemas.microsoft.com/office/2007/relationships/hdphoto" Target="../media/hdphoto39.wdp"/><Relationship Id="rId15" Type="http://schemas.openxmlformats.org/officeDocument/2006/relationships/image" Target="../media/image96.png"/><Relationship Id="rId16" Type="http://schemas.microsoft.com/office/2007/relationships/hdphoto" Target="../media/hdphoto40.wdp"/><Relationship Id="rId17" Type="http://schemas.openxmlformats.org/officeDocument/2006/relationships/image" Target="../media/image97.png"/><Relationship Id="rId18" Type="http://schemas.microsoft.com/office/2007/relationships/hdphoto" Target="../media/hdphoto41.wdp"/><Relationship Id="rId19" Type="http://schemas.openxmlformats.org/officeDocument/2006/relationships/image" Target="../media/image98.png"/><Relationship Id="rId2" Type="http://schemas.openxmlformats.org/officeDocument/2006/relationships/image" Target="../media/image89.png"/><Relationship Id="rId20" Type="http://schemas.microsoft.com/office/2007/relationships/hdphoto" Target="../media/hdphoto42.wdp"/><Relationship Id="rId21" Type="http://schemas.openxmlformats.org/officeDocument/2006/relationships/image" Target="../media/image99.png"/><Relationship Id="rId22" Type="http://schemas.openxmlformats.org/officeDocument/2006/relationships/image" Target="../media/image100.png"/><Relationship Id="rId23" Type="http://schemas.openxmlformats.org/officeDocument/2006/relationships/image" Target="../media/image101.png"/><Relationship Id="rId24" Type="http://schemas.microsoft.com/office/2007/relationships/hdphoto" Target="../media/hdphoto43.wdp"/><Relationship Id="rId25" Type="http://schemas.openxmlformats.org/officeDocument/2006/relationships/image" Target="../media/image102.png"/><Relationship Id="rId26" Type="http://schemas.microsoft.com/office/2007/relationships/hdphoto" Target="../media/hdphoto44.wdp"/><Relationship Id="rId3" Type="http://schemas.microsoft.com/office/2007/relationships/hdphoto" Target="../media/hdphoto35.wdp"/><Relationship Id="rId4" Type="http://schemas.openxmlformats.org/officeDocument/2006/relationships/image" Target="../media/image40.png"/><Relationship Id="rId5" Type="http://schemas.openxmlformats.org/officeDocument/2006/relationships/image" Target="../media/image90.png"/><Relationship Id="rId6" Type="http://schemas.microsoft.com/office/2007/relationships/hdphoto" Target="../media/hdphoto36.wdp"/><Relationship Id="rId7" Type="http://schemas.openxmlformats.org/officeDocument/2006/relationships/image" Target="../media/image91.png"/><Relationship Id="rId8" Type="http://schemas.openxmlformats.org/officeDocument/2006/relationships/image" Target="../media/image92.png"/><Relationship Id="rId9" Type="http://schemas.microsoft.com/office/2007/relationships/hdphoto" Target="../media/hdphoto37.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103.jpeg"/><Relationship Id="rId4" Type="http://schemas.openxmlformats.org/officeDocument/2006/relationships/image" Target="../media/image104.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8.svg"/><Relationship Id="rId11" Type="http://schemas.openxmlformats.org/officeDocument/2006/relationships/image" Target="../media/image109.png"/><Relationship Id="rId12" Type="http://schemas.openxmlformats.org/officeDocument/2006/relationships/image" Target="../media/image110.svg"/><Relationship Id="rId13" Type="http://schemas.openxmlformats.org/officeDocument/2006/relationships/image" Target="../media/image111.png"/><Relationship Id="rId14" Type="http://schemas.openxmlformats.org/officeDocument/2006/relationships/image" Target="../media/image112.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5.png"/><Relationship Id="rId8" Type="http://schemas.openxmlformats.org/officeDocument/2006/relationships/image" Target="../media/image106.svg"/><Relationship Id="rId9" Type="http://schemas.openxmlformats.org/officeDocument/2006/relationships/image" Target="../media/image10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png"/><Relationship Id="rId4" Type="http://schemas.microsoft.com/office/2007/relationships/hdphoto" Target="../media/hdphoto45.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115.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6.png"/><Relationship Id="rId3" Type="http://schemas.openxmlformats.org/officeDocument/2006/relationships/image" Target="../media/image117.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18.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8.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9.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20.jpe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openxmlformats.org/officeDocument/2006/relationships/image" Target="../media/image125.png"/><Relationship Id="rId2" Type="http://schemas.openxmlformats.org/officeDocument/2006/relationships/notesSlide" Target="../notesSlides/notesSlide10.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image" Target="../media/image121.png"/><Relationship Id="rId7" Type="http://schemas.openxmlformats.org/officeDocument/2006/relationships/image" Target="../media/image122.png"/><Relationship Id="rId8" Type="http://schemas.openxmlformats.org/officeDocument/2006/relationships/image" Target="../media/image123.png"/><Relationship Id="rId9" Type="http://schemas.openxmlformats.org/officeDocument/2006/relationships/image" Target="../media/image124.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1.xml"/><Relationship Id="rId2" Type="http://schemas.openxmlformats.org/officeDocument/2006/relationships/notesSlide" Target="../notesSlides/notesSlide11.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1.xml"/><Relationship Id="rId7" Type="http://schemas.openxmlformats.org/officeDocument/2006/relationships/diagramLayout" Target="../diagrams/layout1.xml"/><Relationship Id="rId8" Type="http://schemas.openxmlformats.org/officeDocument/2006/relationships/diagramQuickStyle" Target="../diagrams/quickStyle1.xml"/><Relationship Id="rId9" Type="http://schemas.openxmlformats.org/officeDocument/2006/relationships/diagramColors" Target="../diagrams/colors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2.xml"/><Relationship Id="rId2" Type="http://schemas.openxmlformats.org/officeDocument/2006/relationships/notesSlide" Target="../notesSlides/notesSlide12.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2.xml"/><Relationship Id="rId7" Type="http://schemas.openxmlformats.org/officeDocument/2006/relationships/diagramLayout" Target="../diagrams/layout2.xml"/><Relationship Id="rId8" Type="http://schemas.openxmlformats.org/officeDocument/2006/relationships/diagramQuickStyle" Target="../diagrams/quickStyle2.xml"/><Relationship Id="rId9" Type="http://schemas.openxmlformats.org/officeDocument/2006/relationships/diagramColors" Target="../diagrams/colors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3.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image" Target="../media/image126.jpe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3.xml"/><Relationship Id="rId2" Type="http://schemas.openxmlformats.org/officeDocument/2006/relationships/notesSlide" Target="../notesSlides/notesSlide14.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3.xml"/><Relationship Id="rId7" Type="http://schemas.openxmlformats.org/officeDocument/2006/relationships/diagramLayout" Target="../diagrams/layout3.xml"/><Relationship Id="rId8" Type="http://schemas.openxmlformats.org/officeDocument/2006/relationships/diagramQuickStyle" Target="../diagrams/quickStyle3.xml"/><Relationship Id="rId9" Type="http://schemas.openxmlformats.org/officeDocument/2006/relationships/diagramColors" Target="../diagrams/colors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5.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openxmlformats.org/officeDocument/2006/relationships/image" Target="../media/image127.jpeg"/><Relationship Id="rId11" Type="http://schemas.openxmlformats.org/officeDocument/2006/relationships/image" Target="../media/image128.jpeg"/><Relationship Id="rId12" Type="http://schemas.openxmlformats.org/officeDocument/2006/relationships/image" Target="../media/image129.jpeg"/><Relationship Id="rId2" Type="http://schemas.openxmlformats.org/officeDocument/2006/relationships/notesSlide" Target="../notesSlides/notesSlide16.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diagramData" Target="../diagrams/data4.xml"/><Relationship Id="rId6" Type="http://schemas.openxmlformats.org/officeDocument/2006/relationships/diagramLayout" Target="../diagrams/layout4.xml"/><Relationship Id="rId7" Type="http://schemas.openxmlformats.org/officeDocument/2006/relationships/diagramQuickStyle" Target="../diagrams/quickStyle4.xml"/><Relationship Id="rId8" Type="http://schemas.openxmlformats.org/officeDocument/2006/relationships/diagramColors" Target="../diagrams/colors4.xml"/><Relationship Id="rId9" Type="http://schemas.microsoft.com/office/2007/relationships/diagramDrawing" Target="../diagrams/drawing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7.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30.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8.xml"/><Relationship Id="rId3" Type="http://schemas.openxmlformats.org/officeDocument/2006/relationships/image" Target="../media/image119.png"/><Relationship Id="rId4" Type="http://schemas.microsoft.com/office/2007/relationships/hdphoto" Target="../media/hdphoto46.wdp"/></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31.jpeg"/><Relationship Id="rId3" Type="http://schemas.openxmlformats.org/officeDocument/2006/relationships/image" Target="../media/image132.jpe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image" Target="../media/image133.jpe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34.jpeg"/><Relationship Id="rId3" Type="http://schemas.openxmlformats.org/officeDocument/2006/relationships/image" Target="../media/image135.jpe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9.xml"/><Relationship Id="rId3" Type="http://schemas.openxmlformats.org/officeDocument/2006/relationships/image" Target="../media/image136.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37.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38.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5.svg"/><Relationship Id="rId11" Type="http://schemas.openxmlformats.org/officeDocument/2006/relationships/image" Target="../media/image146.png"/><Relationship Id="rId12" Type="http://schemas.openxmlformats.org/officeDocument/2006/relationships/image" Target="../media/image147.svg"/><Relationship Id="rId2" Type="http://schemas.openxmlformats.org/officeDocument/2006/relationships/notesSlide" Target="../notesSlides/notesSlide20.xml"/><Relationship Id="rId3" Type="http://schemas.openxmlformats.org/officeDocument/2006/relationships/image" Target="../media/image138.png"/><Relationship Id="rId4" Type="http://schemas.openxmlformats.org/officeDocument/2006/relationships/image" Target="../media/image139.png"/><Relationship Id="rId5" Type="http://schemas.openxmlformats.org/officeDocument/2006/relationships/image" Target="../media/image140.svg"/><Relationship Id="rId6" Type="http://schemas.openxmlformats.org/officeDocument/2006/relationships/image" Target="../media/image141.png"/><Relationship Id="rId7" Type="http://schemas.openxmlformats.org/officeDocument/2006/relationships/image" Target="../media/image142.svg"/><Relationship Id="rId8" Type="http://schemas.openxmlformats.org/officeDocument/2006/relationships/image" Target="../media/image143.png"/><Relationship Id="rId9" Type="http://schemas.openxmlformats.org/officeDocument/2006/relationships/image" Target="../media/image144.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48.jpeg"/><Relationship Id="rId3" Type="http://schemas.openxmlformats.org/officeDocument/2006/relationships/image" Target="../media/image149.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1.xml"/><Relationship Id="rId3" Type="http://schemas.openxmlformats.org/officeDocument/2006/relationships/image" Target="../media/image150.png"/><Relationship Id="rId4" Type="http://schemas.openxmlformats.org/officeDocument/2006/relationships/image" Target="../media/image151.png"/><Relationship Id="rId5" Type="http://schemas.openxmlformats.org/officeDocument/2006/relationships/image" Target="../media/image152.png"/><Relationship Id="rId6" Type="http://schemas.openxmlformats.org/officeDocument/2006/relationships/image" Target="../media/image153.png"/><Relationship Id="rId7" Type="http://schemas.openxmlformats.org/officeDocument/2006/relationships/image" Target="../media/image154.png"/></Relationships>
</file>

<file path=ppt/slides/_rels/slide45.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xml"/><Relationship Id="rId3" Type="http://schemas.openxmlformats.org/officeDocument/2006/relationships/notesSlide" Target="../notesSlides/notesSlide22.xml"/><Relationship Id="rId4" Type="http://schemas.openxmlformats.org/officeDocument/2006/relationships/image" Target="../media/image155.jpe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62.png"/><Relationship Id="rId11" Type="http://schemas.openxmlformats.org/officeDocument/2006/relationships/image" Target="../media/image163.png"/><Relationship Id="rId12" Type="http://schemas.openxmlformats.org/officeDocument/2006/relationships/image" Target="../media/image164.png"/><Relationship Id="rId13" Type="http://schemas.openxmlformats.org/officeDocument/2006/relationships/image" Target="../media/image165.png"/><Relationship Id="rId14" Type="http://schemas.openxmlformats.org/officeDocument/2006/relationships/image" Target="../media/image166.png"/><Relationship Id="rId15" Type="http://schemas.openxmlformats.org/officeDocument/2006/relationships/image" Target="../media/image167.png"/><Relationship Id="rId16" Type="http://schemas.openxmlformats.org/officeDocument/2006/relationships/image" Target="../media/image168.png"/><Relationship Id="rId17" Type="http://schemas.openxmlformats.org/officeDocument/2006/relationships/image" Target="../media/image169.png"/><Relationship Id="rId18" Type="http://schemas.openxmlformats.org/officeDocument/2006/relationships/image" Target="../media/image170.png"/><Relationship Id="rId19" Type="http://schemas.openxmlformats.org/officeDocument/2006/relationships/image" Target="../media/image171.jpeg"/><Relationship Id="rId2" Type="http://schemas.openxmlformats.org/officeDocument/2006/relationships/notesSlide" Target="../notesSlides/notesSlide23.xml"/><Relationship Id="rId20" Type="http://schemas.openxmlformats.org/officeDocument/2006/relationships/image" Target="../media/image172.png"/><Relationship Id="rId21" Type="http://schemas.openxmlformats.org/officeDocument/2006/relationships/image" Target="../media/image173.png"/><Relationship Id="rId22" Type="http://schemas.openxmlformats.org/officeDocument/2006/relationships/image" Target="../media/image174.png"/><Relationship Id="rId23" Type="http://schemas.openxmlformats.org/officeDocument/2006/relationships/image" Target="../media/image175.png"/><Relationship Id="rId24" Type="http://schemas.openxmlformats.org/officeDocument/2006/relationships/image" Target="../media/image176.png"/><Relationship Id="rId25" Type="http://schemas.openxmlformats.org/officeDocument/2006/relationships/image" Target="../media/image177.png"/><Relationship Id="rId26" Type="http://schemas.openxmlformats.org/officeDocument/2006/relationships/image" Target="../media/image178.png"/><Relationship Id="rId27" Type="http://schemas.openxmlformats.org/officeDocument/2006/relationships/image" Target="../media/image179.png"/><Relationship Id="rId28" Type="http://schemas.openxmlformats.org/officeDocument/2006/relationships/image" Target="../media/image180.png"/><Relationship Id="rId29" Type="http://schemas.openxmlformats.org/officeDocument/2006/relationships/image" Target="../media/image181.png"/><Relationship Id="rId3" Type="http://schemas.openxmlformats.org/officeDocument/2006/relationships/image" Target="../media/image103.jpeg"/><Relationship Id="rId4" Type="http://schemas.openxmlformats.org/officeDocument/2006/relationships/image" Target="../media/image156.png"/><Relationship Id="rId5" Type="http://schemas.openxmlformats.org/officeDocument/2006/relationships/image" Target="../media/image157.png"/><Relationship Id="rId6" Type="http://schemas.openxmlformats.org/officeDocument/2006/relationships/image" Target="../media/image158.png"/><Relationship Id="rId7" Type="http://schemas.openxmlformats.org/officeDocument/2006/relationships/image" Target="../media/image159.png"/><Relationship Id="rId8" Type="http://schemas.openxmlformats.org/officeDocument/2006/relationships/image" Target="../media/image160.png"/><Relationship Id="rId9" Type="http://schemas.openxmlformats.org/officeDocument/2006/relationships/image" Target="../media/image161.png"/></Relationships>
</file>

<file path=ppt/slides/_rels/slide47.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2.xml"/><Relationship Id="rId3" Type="http://schemas.openxmlformats.org/officeDocument/2006/relationships/image" Target="../media/image182.png"/><Relationship Id="rId4" Type="http://schemas.microsoft.com/office/2007/relationships/hdphoto" Target="../media/hdphoto47.wdp"/><Relationship Id="rId5" Type="http://schemas.openxmlformats.org/officeDocument/2006/relationships/image" Target="../media/image183.png"/></Relationships>
</file>

<file path=ppt/slides/_rels/slide48.xml.rels><?xml version='1.0' encoding='UTF-8' standalone='yes'?>
<Relationships xmlns="http://schemas.openxmlformats.org/package/2006/relationships"><Relationship Id="rId1" Type="http://schemas.openxmlformats.org/officeDocument/2006/relationships/themeOverride" Target="../theme/themeOverride3.xml"/><Relationship Id="rId2" Type="http://schemas.openxmlformats.org/officeDocument/2006/relationships/slideLayout" Target="../slideLayouts/slideLayout1.xml"/><Relationship Id="rId3" Type="http://schemas.openxmlformats.org/officeDocument/2006/relationships/notesSlide" Target="../notesSlides/notesSlide24.xml"/><Relationship Id="rId4" Type="http://schemas.openxmlformats.org/officeDocument/2006/relationships/image" Target="../media/image184.jpeg"/><Relationship Id="rId5" Type="http://schemas.openxmlformats.org/officeDocument/2006/relationships/image" Target="../media/image185.png"/><Relationship Id="rId6" Type="http://schemas.openxmlformats.org/officeDocument/2006/relationships/image" Target="../media/image186.sv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25.xml"/><Relationship Id="rId3" Type="http://schemas.openxmlformats.org/officeDocument/2006/relationships/image" Target="../media/image187.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algn="ctr" defTabSz="857250">
              <a:defRPr/>
            </a:pPr>
            <a:r>
              <a:rPr lang="en-US" sz="2800" b="1" spc="-43" dirty="0">
                <a:solidFill>
                  <a:schemeClr val="bg1"/>
                </a:solidFill>
                <a:latin typeface="Calibri"/>
                <a:ea typeface="Calibri"/>
                <a:cs typeface="Calibri"/>
              </a:rPr>
              <a:t>PROPOSAL</a:t>
            </a:r>
            <a:br>
              <a:rPr lang="en-US" sz="2800" b="1" spc="-43" dirty="0">
                <a:latin typeface="Calibri"/>
                <a:ea typeface="Calibri"/>
                <a:cs typeface="Calibri"/>
              </a:rPr>
            </a:br>
            <a:r>
              <a:rPr lang="en-US" sz="2800" b="1" spc="-43" dirty="0">
                <a:solidFill>
                  <a:prstClr val="white"/>
                </a:solidFill>
                <a:latin typeface="Calibri"/>
                <a:ea typeface="Calibri"/>
                <a:cs typeface="Calibri"/>
              </a:rPr>
              <a:t>Vulnerability Assessment and Penetration Testing (VAPT) </a:t>
            </a:r>
            <a:endParaRPr lang="en-US" sz="2800" b="1" i="0" u="none" strike="noStrike" kern="1200" cap="none" spc="-43" normalizeH="0" baseline="0" noProof="0" dirty="0">
              <a:ln>
                <a:noFill/>
              </a:ln>
              <a:solidFill>
                <a:prstClr val="white"/>
              </a:solidFill>
              <a:effectLst/>
              <a:uLnTx/>
              <a:uFillTx/>
              <a:latin typeface="Calibri" panose="020F0502020204030204" pitchFamily="34" charset="0"/>
              <a:ea typeface="Calibri"/>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4990118" y="5928428"/>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a:t>
            </a:r>
            <a:r>
              <a:rPr kumimoji="0" lang="en-US" sz="1200" b="1" i="0" u="none" strike="noStrike" kern="1200" cap="none" spc="0" normalizeH="0" baseline="0" noProof="0" dirty="0">
                <a:ln>
                  <a:noFill/>
                </a:ln>
                <a:solidFill>
                  <a:srgbClr val="FFFF00"/>
                </a:solidFill>
                <a:effectLst/>
                <a:uLnTx/>
                <a:uFillTx/>
                <a:latin typeface="Calibri"/>
                <a:ea typeface="+mn-ea"/>
                <a:cs typeface="+mn-cs"/>
              </a:rPr>
              <a:t> </a:t>
            </a:r>
            <a:r>
              <a:rPr lang="en-US" sz="1200" b="1" dirty="0">
                <a:solidFill>
                  <a:srgbClr val="CCB76A"/>
                </a:solidFill>
                <a:latin typeface="Calibri"/>
              </a:rPr>
              <a:t>2023-10-0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4B6C28C0-C216-7240-89F1-2DCCD0E0AA39}"/>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295383" y="2258875"/>
            <a:ext cx="4071840" cy="1040881"/>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596637" y="1204536"/>
            <a:ext cx="1811301" cy="811754"/>
          </a:xfrm>
          <a:prstGeom prst="rect">
            <a:avLst/>
          </a:prstGeom>
          <a:ln>
            <a:noFill/>
          </a:ln>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477646" y="4376948"/>
            <a:ext cx="4138370" cy="716081"/>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382774" y="5037943"/>
            <a:ext cx="2361108"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42251" y="2633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882142" y="3641594"/>
            <a:ext cx="1701617" cy="948297"/>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34836" y="1649003"/>
            <a:ext cx="1526700" cy="595864"/>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4705590" y="2956699"/>
            <a:ext cx="2950772" cy="738664"/>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009094" y="1523020"/>
            <a:ext cx="1725171" cy="862586"/>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97909" y="1610413"/>
            <a:ext cx="1556174" cy="539474"/>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310378" y="3391536"/>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pic>
        <p:nvPicPr>
          <p:cNvPr id="30" name="Picture 29" descr="Text&#10;&#10;Description automatically generated">
            <a:extLst>
              <a:ext uri="{FF2B5EF4-FFF2-40B4-BE49-F238E27FC236}">
                <a16:creationId xmlns:a16="http://schemas.microsoft.com/office/drawing/2014/main" id="{FAED19F3-14F0-F0FD-F060-D955B5EF7D5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5466617" y="1771918"/>
            <a:ext cx="2071340" cy="1380893"/>
          </a:xfrm>
          <a:prstGeom prst="rect">
            <a:avLst/>
          </a:prstGeom>
        </p:spPr>
      </p:pic>
      <p:pic>
        <p:nvPicPr>
          <p:cNvPr id="32" name="Picture 31" descr="Timeline">
            <a:extLst>
              <a:ext uri="{FF2B5EF4-FFF2-40B4-BE49-F238E27FC236}">
                <a16:creationId xmlns:a16="http://schemas.microsoft.com/office/drawing/2014/main" id="{58B94270-BDDD-058B-5F1A-53FCF1748B04}"/>
              </a:ext>
            </a:extLst>
          </p:cNvPr>
          <p:cNvPicPr>
            <a:picLocks noChangeAspect="1"/>
          </p:cNvPicPr>
          <p:nvPr/>
        </p:nvPicPr>
        <p:blipFill rotWithShape="1">
          <a:blip r:embed="rId19">
            <a:extLst>
              <a:ext uri="{28A0092B-C50C-407E-A947-70E740481C1C}">
                <a14:useLocalDpi xmlns:a14="http://schemas.microsoft.com/office/drawing/2010/main" val="0"/>
              </a:ext>
            </a:extLst>
          </a:blip>
          <a:srcRect t="29353" b="28016"/>
          <a:stretch/>
        </p:blipFill>
        <p:spPr>
          <a:xfrm>
            <a:off x="4040237" y="5601089"/>
            <a:ext cx="3212649" cy="796652"/>
          </a:xfrm>
          <a:prstGeom prst="rect">
            <a:avLst/>
          </a:prstGeom>
        </p:spPr>
      </p:pic>
      <p:pic>
        <p:nvPicPr>
          <p:cNvPr id="8" name="Picture 7" descr="Logo&#10;&#10;Description automatically generated">
            <a:extLst>
              <a:ext uri="{FF2B5EF4-FFF2-40B4-BE49-F238E27FC236}">
                <a16:creationId xmlns:a16="http://schemas.microsoft.com/office/drawing/2014/main" id="{42EFAAB2-1C55-9563-F7CC-C17CEF7FB686}"/>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923871" y="5363074"/>
            <a:ext cx="833253" cy="833253"/>
          </a:xfrm>
          <a:prstGeom prst="rect">
            <a:avLst/>
          </a:prstGeom>
        </p:spPr>
      </p:pic>
      <p:pic>
        <p:nvPicPr>
          <p:cNvPr id="1026" name="Picture 2" descr="upload.wikimedia.org/wikipedia/en/thumb/5/57/Logo_...">
            <a:extLst>
              <a:ext uri="{FF2B5EF4-FFF2-40B4-BE49-F238E27FC236}">
                <a16:creationId xmlns:a16="http://schemas.microsoft.com/office/drawing/2014/main" id="{1A201728-B3AE-D3B3-91B6-941E76BCEE51}"/>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291586" y="4032578"/>
            <a:ext cx="1462016" cy="126265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SO (International Organization for ...">
            <a:extLst>
              <a:ext uri="{FF2B5EF4-FFF2-40B4-BE49-F238E27FC236}">
                <a16:creationId xmlns:a16="http://schemas.microsoft.com/office/drawing/2014/main" id="{7E4F6D92-8F77-2918-3A2A-7B286835CC14}"/>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133186" y="4683772"/>
            <a:ext cx="1096058" cy="8935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87628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dirty="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Jazz logo vector - (.Ai .PNG .SVG .EPS Free Download)">
            <a:extLst>
              <a:ext uri="{FF2B5EF4-FFF2-40B4-BE49-F238E27FC236}">
                <a16:creationId xmlns:a16="http://schemas.microsoft.com/office/drawing/2014/main" id="{D179934D-FBAA-592B-F5B5-65FDF7702543}"/>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Lst>
          </a:blip>
          <a:stretch>
            <a:fillRect/>
          </a:stretch>
        </p:blipFill>
        <p:spPr>
          <a:xfrm>
            <a:off x="488197" y="3374756"/>
            <a:ext cx="2743200" cy="2743200"/>
          </a:xfrm>
          <a:prstGeom prst="rect">
            <a:avLst/>
          </a:prstGeom>
        </p:spPr>
      </p:pic>
      <p:pic>
        <p:nvPicPr>
          <p:cNvPr id="7" name="Picture 6" descr="PTCL Reports Growth in DSL, Corporate and Wholesale Businesses">
            <a:extLst>
              <a:ext uri="{FF2B5EF4-FFF2-40B4-BE49-F238E27FC236}">
                <a16:creationId xmlns:a16="http://schemas.microsoft.com/office/drawing/2014/main" id="{879FD8E4-7D8D-0F9E-7D2C-51EBBC6C3B5C}"/>
              </a:ext>
            </a:extLst>
          </p:cNvPr>
          <p:cNvPicPr>
            <a:picLocks noChangeAspect="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Lst>
          </a:blip>
          <a:stretch>
            <a:fillRect/>
          </a:stretch>
        </p:blipFill>
        <p:spPr>
          <a:xfrm>
            <a:off x="419100" y="544512"/>
            <a:ext cx="2606040" cy="1623695"/>
          </a:xfrm>
          <a:prstGeom prst="rect">
            <a:avLst/>
          </a:prstGeom>
        </p:spPr>
      </p:pic>
      <p:pic>
        <p:nvPicPr>
          <p:cNvPr id="9" name="Picture 8" descr="Telstra Logo y símbolo, significado, historia, PNG, marca">
            <a:extLst>
              <a:ext uri="{FF2B5EF4-FFF2-40B4-BE49-F238E27FC236}">
                <a16:creationId xmlns:a16="http://schemas.microsoft.com/office/drawing/2014/main" id="{A2D5AE37-76CF-975B-4598-AACCD49D8AAA}"/>
              </a:ext>
            </a:extLst>
          </p:cNvPr>
          <p:cNvPicPr>
            <a:picLocks noChangeAspect="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Lst>
          </a:blip>
          <a:stretch>
            <a:fillRect/>
          </a:stretch>
        </p:blipFill>
        <p:spPr>
          <a:xfrm>
            <a:off x="5638800" y="2702560"/>
            <a:ext cx="1994288" cy="1064390"/>
          </a:xfrm>
          <a:prstGeom prst="rect">
            <a:avLst/>
          </a:prstGeom>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199005" y="825935"/>
            <a:ext cx="1565432" cy="128240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9" cstate="print">
            <a:extLst>
              <a:ext uri="{BEBA8EAE-BF5A-486C-A8C5-ECC9F3942E4B}">
                <a14:imgProps xmlns:a14="http://schemas.microsoft.com/office/drawing/2010/main">
                  <a14:imgLayer r:embed="rId2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21811" y="1761056"/>
            <a:ext cx="1771363" cy="714584"/>
          </a:xfrm>
          <a:prstGeom prst="rect">
            <a:avLst/>
          </a:prstGeom>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5" cstate="print">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639518" y="4948486"/>
            <a:ext cx="1518532" cy="582871"/>
          </a:xfrm>
          <a:prstGeom prst="rect">
            <a:avLst/>
          </a:prstGeom>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9">
            <a:extLst>
              <a:ext uri="{BEBA8EAE-BF5A-486C-A8C5-ECC9F3942E4B}">
                <a14:imgProps xmlns:a14="http://schemas.microsoft.com/office/drawing/2010/main">
                  <a14:imgLayer r:embed="rId3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33">
            <a:extLst>
              <a:ext uri="{BEBA8EAE-BF5A-486C-A8C5-ECC9F3942E4B}">
                <a14:imgProps xmlns:a14="http://schemas.microsoft.com/office/drawing/2010/main">
                  <a14:imgLayer r:embed="rId3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8">
            <a:extLst>
              <a:ext uri="{BEBA8EAE-BF5A-486C-A8C5-ECC9F3942E4B}">
                <a14:imgProps xmlns:a14="http://schemas.microsoft.com/office/drawing/2010/main">
                  <a14:imgLayer r:embed="rId3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41"/>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43">
            <a:extLst>
              <a:ext uri="{BEBA8EAE-BF5A-486C-A8C5-ECC9F3942E4B}">
                <a14:imgProps xmlns:a14="http://schemas.microsoft.com/office/drawing/2010/main">
                  <a14:imgLayer r:embed="rId4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45">
            <a:extLst>
              <a:ext uri="{BEBA8EAE-BF5A-486C-A8C5-ECC9F3942E4B}">
                <a14:imgProps xmlns:a14="http://schemas.microsoft.com/office/drawing/2010/main">
                  <a14:imgLayer r:embed="rId4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48">
            <a:extLst>
              <a:ext uri="{BEBA8EAE-BF5A-486C-A8C5-ECC9F3942E4B}">
                <a14:imgProps xmlns:a14="http://schemas.microsoft.com/office/drawing/2010/main">
                  <a14:imgLayer r:embed="rId4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52076" y="6103599"/>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53221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dirty="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dirty="0">
                <a:ln>
                  <a:noFill/>
                </a:ln>
                <a:solidFill>
                  <a:prstClr val="black"/>
                </a:solidFill>
                <a:effectLst/>
                <a:uLnTx/>
                <a:uFillTx/>
                <a:latin typeface="Calibri"/>
                <a:cs typeface="Sakkal Majalla" panose="02000000000000000000" pitchFamily="2" charset="-78"/>
                <a:sym typeface="Arial"/>
              </a:rPr>
              <a:t>to enable </a:t>
            </a:r>
            <a:r>
              <a:rPr lang="en-US" sz="16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lang="en-US" sz="1600" dirty="0">
                <a:solidFill>
                  <a:srgbClr val="000000"/>
                </a:solidFill>
                <a:latin typeface="Calibri" panose="020F0502020204030204" pitchFamily="34" charset="0"/>
                <a:cs typeface="Sakkal Majalla" panose="02000000000000000000" pitchFamily="2" charset="-78"/>
              </a:rPr>
              <a:t> </a:t>
            </a:r>
            <a:r>
              <a:rPr kumimoji="0" lang="en-US" sz="1600" b="0" i="0" u="none" strike="noStrike" kern="1200" cap="none" spc="0" normalizeH="0" baseline="0" noProof="0" dirty="0">
                <a:ln>
                  <a:noFill/>
                </a:ln>
                <a:solidFill>
                  <a:prstClr val="black"/>
                </a:solidFill>
                <a:effectLst/>
                <a:uLnTx/>
                <a:uFillTx/>
                <a:latin typeface="Calibri"/>
                <a:cs typeface="Sakkal Majalla" panose="02000000000000000000" pitchFamily="2" charset="-78"/>
                <a:sym typeface="Arial"/>
              </a:rPr>
              <a:t>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 </a:t>
            </a:r>
            <a:r>
              <a:rPr lang="en-US" sz="1100" b="1" dirty="0">
                <a:solidFill>
                  <a:srgbClr val="000000"/>
                </a:solidFill>
                <a:latin typeface="Calibri"/>
                <a:cs typeface="Sakkal Majalla" panose="02000000000000000000" pitchFamily="2" charset="-78"/>
              </a:rPr>
              <a:t>.</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210826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GRC360 views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 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 </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538177311"/>
              </p:ext>
            </p:extLst>
          </p:nvPr>
        </p:nvGraphicFramePr>
        <p:xfrm>
          <a:off x="0" y="1621971"/>
          <a:ext cx="12175677" cy="3356618"/>
        </p:xfrm>
        <a:graphic>
          <a:graphicData uri="http://schemas.openxmlformats.org/drawingml/2006/table">
            <a:tbl>
              <a:tblPr firstRow="1" bandRow="1"/>
              <a:tblGrid>
                <a:gridCol w="1438943">
                  <a:extLst>
                    <a:ext uri="{9D8B030D-6E8A-4147-A177-3AD203B41FA5}">
                      <a16:colId xmlns:a16="http://schemas.microsoft.com/office/drawing/2014/main" val="2854472208"/>
                    </a:ext>
                  </a:extLst>
                </a:gridCol>
                <a:gridCol w="7881300">
                  <a:extLst>
                    <a:ext uri="{9D8B030D-6E8A-4147-A177-3AD203B41FA5}">
                      <a16:colId xmlns:a16="http://schemas.microsoft.com/office/drawing/2014/main" val="2571585929"/>
                    </a:ext>
                  </a:extLst>
                </a:gridCol>
                <a:gridCol w="2855434">
                  <a:extLst>
                    <a:ext uri="{9D8B030D-6E8A-4147-A177-3AD203B41FA5}">
                      <a16:colId xmlns:a16="http://schemas.microsoft.com/office/drawing/2014/main" val="464968268"/>
                    </a:ext>
                  </a:extLst>
                </a:gridCol>
              </a:tblGrid>
              <a:tr h="37825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dirty="0">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15211">
                <a:tc>
                  <a:txBody>
                    <a:bodyPr/>
                    <a:lstStyle/>
                    <a:p>
                      <a:pPr algn="ctr"/>
                      <a:r>
                        <a:rPr lang="en-US" sz="1600" dirty="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Introduction to VAP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26</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15211">
                <a:tc>
                  <a:txBody>
                    <a:bodyPr/>
                    <a:lstStyle/>
                    <a:p>
                      <a:pPr algn="ctr"/>
                      <a:r>
                        <a:rPr lang="en-US" sz="1600" dirty="0"/>
                        <a:t>5</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6</a:t>
                      </a:r>
                      <a:endParaRPr lang="en-US" dirty="0"/>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8</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09744456"/>
                  </a:ext>
                </a:extLst>
              </a:tr>
              <a:tr h="315211">
                <a:tc>
                  <a:txBody>
                    <a:bodyPr/>
                    <a:lstStyle/>
                    <a:p>
                      <a:pPr algn="ctr"/>
                      <a:r>
                        <a:rPr lang="en-US" sz="1600" dirty="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4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15211">
                <a:tc>
                  <a:txBody>
                    <a:bodyPr/>
                    <a:lstStyle/>
                    <a:p>
                      <a:pPr lvl="0" algn="ctr">
                        <a:buNone/>
                      </a:pPr>
                      <a:r>
                        <a:rPr lang="en-US" sz="1600" dirty="0"/>
                        <a:t>8</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tc>
                  <a:txBody>
                    <a:bodyPr/>
                    <a:lstStyle/>
                    <a:p>
                      <a:pPr lvl="0" algn="l">
                        <a:buNone/>
                      </a:pPr>
                      <a:r>
                        <a:rPr lang="en-US" sz="1600" dirty="0"/>
                        <a:t>Financials</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tc>
                  <a:txBody>
                    <a:bodyPr/>
                    <a:lstStyle/>
                    <a:p>
                      <a:pPr marL="0" lvl="0" indent="0" algn="ctr" defTabSz="914400">
                        <a:lnSpc>
                          <a:spcPct val="100000"/>
                        </a:lnSpc>
                        <a:spcBef>
                          <a:spcPts val="0"/>
                        </a:spcBef>
                        <a:spcAft>
                          <a:spcPts val="0"/>
                        </a:spcAft>
                        <a:buNone/>
                        <a:tabLst/>
                        <a:defRPr/>
                      </a:pPr>
                      <a:r>
                        <a:rPr lang="en-US" sz="1600" dirty="0">
                          <a:solidFill>
                            <a:schemeClr val="tx1"/>
                          </a:solidFill>
                        </a:rPr>
                        <a:t>47</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extLst>
                  <a:ext uri="{0D108BD9-81ED-4DB2-BD59-A6C34878D82A}">
                    <a16:rowId xmlns:a16="http://schemas.microsoft.com/office/drawing/2014/main" val="55893914"/>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9</a:t>
                      </a:r>
                      <a:endParaRPr lang="en-US" dirty="0"/>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ntact U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9</a:t>
                      </a:r>
                      <a:endParaRPr lang="en-US" sz="1600" dirty="0">
                        <a:solidFill>
                          <a:schemeClr val="tx1"/>
                        </a:solidFill>
                      </a:endParaRP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Calibri"/>
                <a:ea typeface="+mn-ea"/>
                <a:cs typeface="+mn-cs"/>
              </a:rPr>
              <a:t>EXECUTIVE SUMMARY</a:t>
            </a:r>
            <a:endParaRPr kumimoji="0" lang="en-GB" sz="3600" b="1" i="0" u="none" strike="noStrike" kern="1200" cap="none" spc="0" normalizeH="0" baseline="0" noProof="0" dirty="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a:t>
            </a:r>
            <a:r>
              <a:rPr lang="en-US" spc="14" dirty="0">
                <a:solidFill>
                  <a:srgbClr val="000000"/>
                </a:solidFill>
                <a:latin typeface="Calibri" panose="020F0502020204030204" pitchFamily="34" charset="0"/>
                <a:cs typeface="Calibri" panose="020F0502020204030204" pitchFamily="34" charset="0"/>
              </a:rPr>
              <a:t>clients</a:t>
            </a: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his presentation provides the holistic approach of methodology to conduct </a:t>
            </a:r>
            <a:r>
              <a:rPr kumimoji="0" lang="en-US" sz="1800" b="1"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ummy Service for </a:t>
            </a:r>
            <a:r>
              <a:rPr lang="en-US"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kumimoji="0" lang="en-US" sz="1800" b="1" i="0" u="none" strike="noStrike" kern="1200" cap="none" spc="0" normalizeH="0" baseline="0" noProof="0" dirty="0">
                <a:ln>
                  <a:noFill/>
                </a:ln>
                <a:solidFill>
                  <a:srgbClr val="000000"/>
                </a:solidFill>
                <a:effectLst/>
                <a:uLnTx/>
                <a:uFillTx/>
                <a:latin typeface="Aptos" panose="020B0004020202020204" pitchFamily="34" charset="0"/>
                <a:ea typeface="Calibri" panose="020F0502020204030204" pitchFamily="34" charset="0"/>
                <a:cs typeface="Times New Roman" panose="02020603050405020304" pitchFamily="18" charset="0"/>
              </a:rPr>
              <a:t>. </a:t>
            </a: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8593571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normAutofit/>
          </a:bodyPr>
          <a:lstStyle/>
          <a:p>
            <a:pPr defTabSz="928688"/>
            <a:r>
              <a:rPr lang="en-US" sz="3600" dirty="0">
                <a:solidFill>
                  <a:schemeClr val="accent1"/>
                </a:solidFill>
              </a:rPr>
              <a:t>PROJECT SCOPE</a:t>
            </a:r>
            <a:endParaRPr lang="en-GB" sz="3600" dirty="0">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2"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3"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a:xfrm>
            <a:off x="248620" y="2004163"/>
            <a:ext cx="5847380" cy="3957638"/>
          </a:xfrm>
        </p:spPr>
        <p:txBody>
          <a:bodyPr>
            <a:noAutofit/>
          </a:bodyPr>
          <a:lstStyle/>
          <a:p>
            <a:pPr marL="0" indent="0">
              <a:buNone/>
            </a:pPr>
            <a:r>
              <a:rPr lang="en-US" spc="14" dirty="0">
                <a:latin typeface="Calibri" panose="020F0502020204030204" pitchFamily="34" charset="0"/>
                <a:cs typeface="Calibri" panose="020F0502020204030204" pitchFamily="34" charset="0"/>
              </a:rPr>
              <a:t>The project aims to provide the following services to</a:t>
            </a:r>
          </a:p>
          <a:p>
            <a:pPr marL="0" indent="0">
              <a:buNone/>
            </a:pPr>
            <a:r>
              <a:rPr lang="en-US" spc="14" dirty="0">
                <a:latin typeface="Calibri" panose="020F0502020204030204" pitchFamily="34" charset="0"/>
                <a:cs typeface="Calibri" panose="020F0502020204030204" pitchFamily="34" charset="0"/>
              </a:rPr>
              <a:t>Dummy Company:</a:t>
            </a:r>
          </a:p>
          <a:p>
            <a:pPr marL="342900" indent="-342900">
              <a:buFont typeface="+mj-lt"/>
              <a:buAutoNum type="arabicPeriod"/>
            </a:pPr>
            <a:r>
              <a:rPr lang="en-US" spc="14" dirty="0">
                <a:latin typeface="Calibri" panose="020F0502020204030204" pitchFamily="34" charset="0"/>
                <a:cs typeface="Calibri" panose="020F0502020204030204" pitchFamily="34" charset="0"/>
              </a:rPr>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3A69B05-0E4A-5361-44FB-D912526240FF}"/>
              </a:ext>
            </a:extLst>
          </p:cNvPr>
          <p:cNvSpPr>
            <a:spLocks noGrp="1"/>
          </p:cNvSpPr>
          <p:nvPr>
            <p:ph type="body" sz="quarter" idx="12"/>
          </p:nvPr>
        </p:nvSpPr>
        <p:spPr>
          <a:xfrm>
            <a:off x="344632" y="4752976"/>
            <a:ext cx="6103937" cy="1290638"/>
          </a:xfrm>
        </p:spPr>
        <p:txBody>
          <a:bodyPr>
            <a:normAutofit/>
          </a:bodyPr>
          <a:lstStyle/>
          <a:p>
            <a:r>
              <a:rPr lang="en-US" cap="all" dirty="0">
                <a:ea typeface="Calibri"/>
                <a:cs typeface="Calibri"/>
              </a:rPr>
              <a:t>Introduction to </a:t>
            </a:r>
            <a:r>
              <a:rPr lang="en-US" cap="all" dirty="0" err="1">
                <a:ea typeface="Calibri"/>
                <a:cs typeface="Calibri"/>
              </a:rPr>
              <a:t>Vapt</a:t>
            </a:r>
            <a:endParaRPr lang="en-US" cap="all" dirty="0">
              <a:ea typeface="Calibri"/>
              <a:cs typeface="Calibri"/>
            </a:endParaRPr>
          </a:p>
        </p:txBody>
      </p:sp>
      <p:pic>
        <p:nvPicPr>
          <p:cNvPr id="11" name="Picture Placeholder 10" descr="A picture containing electronics, circuit&#10;&#10;Description automatically generated">
            <a:extLst>
              <a:ext uri="{FF2B5EF4-FFF2-40B4-BE49-F238E27FC236}">
                <a16:creationId xmlns:a16="http://schemas.microsoft.com/office/drawing/2014/main" id="{D77B4251-DD1E-B1AC-B12D-D4394D47C636}"/>
              </a:ext>
            </a:extLst>
          </p:cNvPr>
          <p:cNvPicPr>
            <a:picLocks noGrp="1" noChangeAspect="1"/>
          </p:cNvPicPr>
          <p:nvPr>
            <p:ph type="pic" sz="quarter" idx="10"/>
          </p:nvPr>
        </p:nvPicPr>
        <p:blipFill>
          <a:blip r:embed="rId2">
            <a:duotone>
              <a:prstClr val="black"/>
              <a:schemeClr val="accent4">
                <a:tint val="45000"/>
                <a:satMod val="400000"/>
              </a:schemeClr>
            </a:duotone>
            <a:extLst>
              <a:ext uri="{28A0092B-C50C-407E-A947-70E740481C1C}">
                <a14:useLocalDpi xmlns:a14="http://schemas.microsoft.com/office/drawing/2010/main" val="0"/>
              </a:ext>
            </a:extLst>
          </a:blip>
          <a:srcRect l="34102" r="34102"/>
          <a:stretch>
            <a:fillRect/>
          </a:stretch>
        </p:blipFill>
        <p:spPr/>
      </p:pic>
      <p:pic>
        <p:nvPicPr>
          <p:cNvPr id="7" name="Picture Placeholder 6" descr="A picture containing electronics, circuit&#10;&#10;Description automatically generated">
            <a:extLst>
              <a:ext uri="{FF2B5EF4-FFF2-40B4-BE49-F238E27FC236}">
                <a16:creationId xmlns:a16="http://schemas.microsoft.com/office/drawing/2014/main" id="{B3160FFA-AE05-13BD-DA32-9755AA47B536}"/>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21014" r="21014"/>
          <a:stretch>
            <a:fillRect/>
          </a:stretch>
        </p:blipFill>
        <p:spPr/>
      </p:pic>
    </p:spTree>
    <p:extLst>
      <p:ext uri="{BB962C8B-B14F-4D97-AF65-F5344CB8AC3E}">
        <p14:creationId xmlns:p14="http://schemas.microsoft.com/office/powerpoint/2010/main" val="36784304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a:t>OUR VAPT SERVICES</a:t>
            </a:r>
            <a:endParaRPr lang="en-US">
              <a:ea typeface="Calibri"/>
              <a:cs typeface="Calibri"/>
            </a:endParaRPr>
          </a:p>
        </p:txBody>
      </p:sp>
      <p:sp>
        <p:nvSpPr>
          <p:cNvPr id="6" name="TextBox 6">
            <a:extLst>
              <a:ext uri="{FF2B5EF4-FFF2-40B4-BE49-F238E27FC236}">
                <a16:creationId xmlns:a16="http://schemas.microsoft.com/office/drawing/2014/main" id="{3FCB0E50-2B9C-41C0-8473-CADCD7335AAF}"/>
              </a:ext>
            </a:extLst>
          </p:cNvPr>
          <p:cNvSpPr txBox="1"/>
          <p:nvPr/>
        </p:nvSpPr>
        <p:spPr>
          <a:xfrm>
            <a:off x="912254" y="2183019"/>
            <a:ext cx="10367655" cy="1661993"/>
          </a:xfrm>
          <a:prstGeom prst="rect">
            <a:avLst/>
          </a:prstGeom>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GRC360 has delivered multiple Vulnerability Assessment and Penetration Testing services to Clients in UAE, Saudi Arabia, Australia and Pakistan. Our team comprises of certified hackers and vulnerability researchers with years of experience as bug bounty hunters and holding CEH, OSCP certifications. We also deliver red teaming and blue teaming services to ensure comprehensive cyber security protec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We are delivering vulnerability assessment and penetration testing services in following domains:</a:t>
            </a:r>
          </a:p>
        </p:txBody>
      </p:sp>
      <p:sp>
        <p:nvSpPr>
          <p:cNvPr id="9" name="TextBox 8">
            <a:extLst>
              <a:ext uri="{FF2B5EF4-FFF2-40B4-BE49-F238E27FC236}">
                <a16:creationId xmlns:a16="http://schemas.microsoft.com/office/drawing/2014/main" id="{95B0048E-55CA-B710-56C3-B51F7BB7CA90}"/>
              </a:ext>
            </a:extLst>
          </p:cNvPr>
          <p:cNvSpPr txBox="1"/>
          <p:nvPr/>
        </p:nvSpPr>
        <p:spPr>
          <a:xfrm>
            <a:off x="912253" y="4205145"/>
            <a:ext cx="10367655" cy="923330"/>
          </a:xfrm>
          <a:prstGeom prst="rect">
            <a:avLst/>
          </a:prstGeom>
          <a:noFill/>
        </p:spPr>
        <p:txBody>
          <a:bodyPr wrap="square" numCol="2">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Web/ Mobile Appl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Network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Servers &amp; End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Databas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Clou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oT devices</a:t>
            </a:r>
          </a:p>
        </p:txBody>
      </p:sp>
    </p:spTree>
    <p:extLst>
      <p:ext uri="{BB962C8B-B14F-4D97-AF65-F5344CB8AC3E}">
        <p14:creationId xmlns:p14="http://schemas.microsoft.com/office/powerpoint/2010/main" val="4041281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a:t>OUR PT SERVICES</a:t>
            </a:r>
            <a:endParaRPr lang="en-US">
              <a:ea typeface="Calibri"/>
              <a:cs typeface="Calibri"/>
            </a:endParaRPr>
          </a:p>
        </p:txBody>
      </p:sp>
      <p:sp>
        <p:nvSpPr>
          <p:cNvPr id="5" name="TextBox 4">
            <a:extLst>
              <a:ext uri="{FF2B5EF4-FFF2-40B4-BE49-F238E27FC236}">
                <a16:creationId xmlns:a16="http://schemas.microsoft.com/office/drawing/2014/main" id="{507ADE3C-D594-1E76-5B8F-A5DD8E086330}"/>
              </a:ext>
            </a:extLst>
          </p:cNvPr>
          <p:cNvSpPr txBox="1"/>
          <p:nvPr/>
        </p:nvSpPr>
        <p:spPr>
          <a:xfrm>
            <a:off x="599425" y="1983465"/>
            <a:ext cx="10830575" cy="369331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A Penetration Test is an attempt to find the security weaknesses of a system and intentionally attack the system with legal approval, in order to identify loopholes that an attacker could exploit to compromise organizational asset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Grey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Grey box testing is when the tester has a partial understanding of the internal structure in the system. Grey Box testers have access to the detailed design documents along with information about requirement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White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It is the testing strategy where the tester deeply understands the inner workings of the system or system component being tested.</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Black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Black-box testing ignores the internal mechanism of a system or component and focuses solely on outputs generated in response to selected inputs and execution conditions</a:t>
            </a:r>
            <a:r>
              <a:rPr kumimoji="0" lang="en-US" sz="1600" b="0" i="0" u="none" strike="noStrike" kern="1200" cap="none" spc="0" normalizeH="0" baseline="0" noProof="0">
                <a:ln>
                  <a:noFill/>
                </a:ln>
                <a:solidFill>
                  <a:srgbClr val="000000"/>
                </a:solidFill>
                <a:effectLst/>
                <a:uLnTx/>
                <a:uFillTx/>
                <a:latin typeface="Calibri"/>
                <a:ea typeface="+mn-ea"/>
                <a:cs typeface="+mn-cs"/>
              </a:rPr>
              <a:t>.</a:t>
            </a:r>
            <a:endParaRPr kumimoji="0" lang="en-GB" sz="16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41760416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10885" y="15470"/>
            <a:ext cx="9644742" cy="1441499"/>
          </a:xfrm>
        </p:spPr>
        <p:txBody>
          <a:bodyPr/>
          <a:lstStyle/>
          <a:p>
            <a:r>
              <a:rPr lang="en-US" dirty="0"/>
              <a:t>VAPT  -DELIVERY METHODOLOGY</a:t>
            </a:r>
          </a:p>
        </p:txBody>
      </p:sp>
      <p:pic>
        <p:nvPicPr>
          <p:cNvPr id="3" name="Picture 2" descr="Logo&#10;&#10;Description automatically generated">
            <a:extLst>
              <a:ext uri="{FF2B5EF4-FFF2-40B4-BE49-F238E27FC236}">
                <a16:creationId xmlns:a16="http://schemas.microsoft.com/office/drawing/2014/main" id="{714F4B02-8293-79CD-D79E-E6B8C6761381}"/>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pic>
        <p:nvPicPr>
          <p:cNvPr id="6" name="Picture 5">
            <a:extLst>
              <a:ext uri="{FF2B5EF4-FFF2-40B4-BE49-F238E27FC236}">
                <a16:creationId xmlns:a16="http://schemas.microsoft.com/office/drawing/2014/main" id="{A3D38307-BDE7-A96E-62EC-CEA1228BB49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92323" y="4439927"/>
            <a:ext cx="5200252" cy="898953"/>
          </a:xfrm>
          <a:prstGeom prst="rect">
            <a:avLst/>
          </a:prstGeom>
        </p:spPr>
      </p:pic>
      <p:pic>
        <p:nvPicPr>
          <p:cNvPr id="7" name="Picture 6">
            <a:extLst>
              <a:ext uri="{FF2B5EF4-FFF2-40B4-BE49-F238E27FC236}">
                <a16:creationId xmlns:a16="http://schemas.microsoft.com/office/drawing/2014/main" id="{6F9DF66F-C572-3069-BD73-0CC0D8BC862F}"/>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5883778" y="5331194"/>
            <a:ext cx="5063317" cy="877807"/>
          </a:xfrm>
          <a:prstGeom prst="rect">
            <a:avLst/>
          </a:prstGeom>
        </p:spPr>
      </p:pic>
      <p:pic>
        <p:nvPicPr>
          <p:cNvPr id="8" name="Picture 7">
            <a:extLst>
              <a:ext uri="{FF2B5EF4-FFF2-40B4-BE49-F238E27FC236}">
                <a16:creationId xmlns:a16="http://schemas.microsoft.com/office/drawing/2014/main" id="{55D0DCC7-7B78-6F78-C66D-01CFC4E3D776}"/>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327489" y="2538988"/>
            <a:ext cx="4997614" cy="1030818"/>
          </a:xfrm>
          <a:prstGeom prst="rect">
            <a:avLst/>
          </a:prstGeom>
        </p:spPr>
      </p:pic>
      <p:pic>
        <p:nvPicPr>
          <p:cNvPr id="9" name="Picture 8">
            <a:extLst>
              <a:ext uri="{FF2B5EF4-FFF2-40B4-BE49-F238E27FC236}">
                <a16:creationId xmlns:a16="http://schemas.microsoft.com/office/drawing/2014/main" id="{E4F39C8A-BF98-6E2F-8EE9-1CD2721B86FB}"/>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5651762" y="1700617"/>
            <a:ext cx="5200252" cy="898953"/>
          </a:xfrm>
          <a:prstGeom prst="rect">
            <a:avLst/>
          </a:prstGeom>
        </p:spPr>
      </p:pic>
      <p:pic>
        <p:nvPicPr>
          <p:cNvPr id="10" name="Picture 9">
            <a:extLst>
              <a:ext uri="{FF2B5EF4-FFF2-40B4-BE49-F238E27FC236}">
                <a16:creationId xmlns:a16="http://schemas.microsoft.com/office/drawing/2014/main" id="{E42F80AB-9A17-1014-885F-455CD4A13804}"/>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5831512" y="3474737"/>
            <a:ext cx="4997618" cy="967200"/>
          </a:xfrm>
          <a:prstGeom prst="rect">
            <a:avLst/>
          </a:prstGeom>
        </p:spPr>
      </p:pic>
      <p:sp>
        <p:nvSpPr>
          <p:cNvPr id="12" name="Text Placeholder 17">
            <a:extLst>
              <a:ext uri="{FF2B5EF4-FFF2-40B4-BE49-F238E27FC236}">
                <a16:creationId xmlns:a16="http://schemas.microsoft.com/office/drawing/2014/main" id="{6C06D145-0144-695E-EAB6-5C796BAEFC28}"/>
              </a:ext>
            </a:extLst>
          </p:cNvPr>
          <p:cNvSpPr txBox="1">
            <a:spLocks/>
          </p:cNvSpPr>
          <p:nvPr/>
        </p:nvSpPr>
        <p:spPr>
          <a:xfrm>
            <a:off x="599425" y="1853778"/>
            <a:ext cx="4709554" cy="462939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GRC360’s methodology is intended to serve as high level directional guide for the development of secure and effective penetration testing. The five-phased methodology is based upon </a:t>
            </a:r>
            <a:r>
              <a:rPr kumimoji="0" lang="en-US" sz="1800" b="1" i="0" u="none" strike="noStrike" kern="1200" cap="none" spc="14" normalizeH="0" baseline="0" noProof="0" dirty="0">
                <a:ln>
                  <a:noFill/>
                </a:ln>
                <a:solidFill>
                  <a:srgbClr val="000000"/>
                </a:solidFill>
                <a:effectLst/>
                <a:uLnTx/>
                <a:uFillTx/>
                <a:latin typeface="Calibri"/>
                <a:ea typeface="+mn-ea"/>
                <a:cs typeface="Calibri"/>
              </a:rPr>
              <a:t>ISSAF, PTES, OWASP &amp; PCI DS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standards. </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Our methodology offers best practices on conducting penetration testing aligned with the </a:t>
            </a:r>
            <a:r>
              <a:rPr kumimoji="0" lang="en-US" sz="1800" b="0" i="0" u="none" strike="noStrike" kern="1200" cap="none" spc="14" normalizeH="0" baseline="0" noProof="0" dirty="0" err="1">
                <a:ln>
                  <a:noFill/>
                </a:ln>
                <a:solidFill>
                  <a:srgbClr val="000000"/>
                </a:solidFill>
                <a:effectLst/>
                <a:uLnTx/>
                <a:uFillTx/>
                <a:latin typeface="Calibri"/>
                <a:ea typeface="+mn-ea"/>
                <a:cs typeface="Calibri"/>
              </a:rPr>
              <a:t>AlSagr’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needs &amp; expectations. Each phase reflects a portion of the mentioned standards. GRC360’s main objective is to revolve the methodology around the industry best practices, and to update and roll down as per the </a:t>
            </a:r>
            <a:r>
              <a:rPr kumimoji="0" lang="en-US" sz="1800" b="0" i="0" u="none" strike="noStrike" kern="1200" cap="none" spc="14" normalizeH="0" baseline="0" noProof="0" dirty="0" err="1">
                <a:ln>
                  <a:noFill/>
                </a:ln>
                <a:solidFill>
                  <a:srgbClr val="000000"/>
                </a:solidFill>
                <a:effectLst/>
                <a:uLnTx/>
                <a:uFillTx/>
                <a:latin typeface="Calibri"/>
                <a:ea typeface="+mn-ea"/>
                <a:cs typeface="Calibri"/>
              </a:rPr>
              <a:t>AlSagr’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requirements.</a:t>
            </a:r>
          </a:p>
        </p:txBody>
      </p:sp>
    </p:spTree>
    <p:extLst>
      <p:ext uri="{BB962C8B-B14F-4D97-AF65-F5344CB8AC3E}">
        <p14:creationId xmlns:p14="http://schemas.microsoft.com/office/powerpoint/2010/main" val="25950809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5" y="2064283"/>
            <a:ext cx="10830575" cy="1508105"/>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Information Systems Security Assessment Framework (ISSAF)</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The Information Systems Security Assessment Framework (ISSAF) is an open source, peer-reviewed penetration testing framework created by OSISSG. The framework encapsulates various methodologies &amp; covers all possible domains of penetration testing. It links each pen-test steps with pen-testing tools.</a:t>
            </a:r>
          </a:p>
        </p:txBody>
      </p:sp>
      <p:graphicFrame>
        <p:nvGraphicFramePr>
          <p:cNvPr id="5" name="Diagram 4">
            <a:extLst>
              <a:ext uri="{FF2B5EF4-FFF2-40B4-BE49-F238E27FC236}">
                <a16:creationId xmlns:a16="http://schemas.microsoft.com/office/drawing/2014/main" id="{C279BF9D-2A50-D5F7-DEE5-F68E5C6A8423}"/>
              </a:ext>
            </a:extLst>
          </p:cNvPr>
          <p:cNvGraphicFramePr/>
          <p:nvPr/>
        </p:nvGraphicFramePr>
        <p:xfrm>
          <a:off x="675195" y="2823686"/>
          <a:ext cx="10830575" cy="376577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7488595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6" y="2064283"/>
            <a:ext cx="5496574" cy="2893100"/>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dirty="0">
                <a:ln>
                  <a:noFill/>
                </a:ln>
                <a:solidFill>
                  <a:srgbClr val="000000"/>
                </a:solidFill>
                <a:effectLst/>
                <a:uLnTx/>
                <a:uFillTx/>
                <a:latin typeface="Calibri"/>
                <a:ea typeface="+mn-ea"/>
                <a:cs typeface="Calibri"/>
              </a:rPr>
              <a:t>Penetration Testing Execution Standard (PTE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The Penetration Testing Execution Standard (PTES) aims to address the need for a complete and up to date standard in penetration testing. It incorporates OWASP Top Ten Framework.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Further, it provides guidance to security professionals &amp; serves as a source of reference for businesses with respect to penetration testing requirements.</a:t>
            </a:r>
          </a:p>
        </p:txBody>
      </p:sp>
      <p:graphicFrame>
        <p:nvGraphicFramePr>
          <p:cNvPr id="9" name="Diagram 8">
            <a:extLst>
              <a:ext uri="{FF2B5EF4-FFF2-40B4-BE49-F238E27FC236}">
                <a16:creationId xmlns:a16="http://schemas.microsoft.com/office/drawing/2014/main" id="{E5E689FF-875F-6C0E-1996-6E1EF6E2D2DC}"/>
              </a:ext>
            </a:extLst>
          </p:cNvPr>
          <p:cNvGraphicFramePr/>
          <p:nvPr/>
        </p:nvGraphicFramePr>
        <p:xfrm>
          <a:off x="6410973" y="1904064"/>
          <a:ext cx="5181601" cy="409495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2547387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5" y="2064283"/>
            <a:ext cx="11121519" cy="178510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OWASP provides numerous tools, guidelines and testing methodologies for cyber security under opensource license. The framework is further categorized into web applications development, web application testing methodology and reporting. The main focus is upon web application security through out the entire software development life cycle. </a:t>
            </a:r>
          </a:p>
        </p:txBody>
      </p:sp>
      <p:pic>
        <p:nvPicPr>
          <p:cNvPr id="3" name="Picture 2" descr="owasp web application penetration testing methodology الصور ...">
            <a:extLst>
              <a:ext uri="{FF2B5EF4-FFF2-40B4-BE49-F238E27FC236}">
                <a16:creationId xmlns:a16="http://schemas.microsoft.com/office/drawing/2014/main" id="{FF9E969F-E618-1074-DA37-169BB95BB86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1867051" y="3865420"/>
            <a:ext cx="8586266" cy="2147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74404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5" name="Diagram 4">
            <a:extLst>
              <a:ext uri="{FF2B5EF4-FFF2-40B4-BE49-F238E27FC236}">
                <a16:creationId xmlns:a16="http://schemas.microsoft.com/office/drawing/2014/main" id="{16E6516D-4F94-AD3E-893F-50BDC875B3A7}"/>
              </a:ext>
            </a:extLst>
          </p:cNvPr>
          <p:cNvGraphicFramePr/>
          <p:nvPr/>
        </p:nvGraphicFramePr>
        <p:xfrm>
          <a:off x="1920264" y="1572127"/>
          <a:ext cx="9814535" cy="470592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6" name="TextBox 5">
            <a:extLst>
              <a:ext uri="{FF2B5EF4-FFF2-40B4-BE49-F238E27FC236}">
                <a16:creationId xmlns:a16="http://schemas.microsoft.com/office/drawing/2014/main" id="{0120E946-031F-6304-2D74-65844A778F76}"/>
              </a:ext>
            </a:extLst>
          </p:cNvPr>
          <p:cNvSpPr txBox="1"/>
          <p:nvPr/>
        </p:nvSpPr>
        <p:spPr>
          <a:xfrm>
            <a:off x="207005" y="3417259"/>
            <a:ext cx="2022763"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 To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Web Applic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Vulnerabilities</a:t>
            </a:r>
          </a:p>
        </p:txBody>
      </p:sp>
    </p:spTree>
    <p:extLst>
      <p:ext uri="{BB962C8B-B14F-4D97-AF65-F5344CB8AC3E}">
        <p14:creationId xmlns:p14="http://schemas.microsoft.com/office/powerpoint/2010/main" val="39599334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 name="Callout: Line 39">
            <a:extLst>
              <a:ext uri="{FF2B5EF4-FFF2-40B4-BE49-F238E27FC236}">
                <a16:creationId xmlns:a16="http://schemas.microsoft.com/office/drawing/2014/main" id="{98972652-E39D-DBA9-769C-31EF13B300DC}"/>
              </a:ext>
            </a:extLst>
          </p:cNvPr>
          <p:cNvSpPr/>
          <p:nvPr/>
        </p:nvSpPr>
        <p:spPr>
          <a:xfrm>
            <a:off x="8708956" y="1788189"/>
            <a:ext cx="3118716" cy="914400"/>
          </a:xfrm>
          <a:prstGeom prst="borderCallout1">
            <a:avLst>
              <a:gd name="adj1" fmla="val 49804"/>
              <a:gd name="adj2" fmla="val -622"/>
              <a:gd name="adj3" fmla="val 48430"/>
              <a:gd name="adj4" fmla="val -76572"/>
            </a:avLst>
          </a:prstGeom>
          <a:noFill/>
          <a:ln>
            <a:solidFill>
              <a:srgbClr val="2F559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1. Pre-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cope of penetration testing is finalized and documented. Rules of engagement and success criteria is determined to ensure pen tester have clear set of expectation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sp>
        <p:nvSpPr>
          <p:cNvPr id="41" name="Callout: Line 40">
            <a:extLst>
              <a:ext uri="{FF2B5EF4-FFF2-40B4-BE49-F238E27FC236}">
                <a16:creationId xmlns:a16="http://schemas.microsoft.com/office/drawing/2014/main" id="{F1F1E747-D7B0-1B38-FDBE-F6BD38269278}"/>
              </a:ext>
            </a:extLst>
          </p:cNvPr>
          <p:cNvSpPr/>
          <p:nvPr/>
        </p:nvSpPr>
        <p:spPr>
          <a:xfrm>
            <a:off x="8708956" y="2809304"/>
            <a:ext cx="3118716" cy="914400"/>
          </a:xfrm>
          <a:prstGeom prst="borderCallout1">
            <a:avLst>
              <a:gd name="adj1" fmla="val 47736"/>
              <a:gd name="adj2" fmla="val -46"/>
              <a:gd name="adj3" fmla="val 49209"/>
              <a:gd name="adj4" fmla="val -18809"/>
            </a:avLst>
          </a:prstGeom>
          <a:noFill/>
          <a:ln>
            <a:solidFill>
              <a:srgbClr val="C55A1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2. 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Actual penetration testing activity is performed using appropriate approach, tools, or  techniques according to organizational needs. Applications, networks and segmentation is tested for loophole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sp>
        <p:nvSpPr>
          <p:cNvPr id="45" name="TextBox 44">
            <a:extLst>
              <a:ext uri="{FF2B5EF4-FFF2-40B4-BE49-F238E27FC236}">
                <a16:creationId xmlns:a16="http://schemas.microsoft.com/office/drawing/2014/main" id="{56D02EFD-F6F7-859D-850B-F6334EA7CC47}"/>
              </a:ext>
            </a:extLst>
          </p:cNvPr>
          <p:cNvSpPr txBox="1"/>
          <p:nvPr/>
        </p:nvSpPr>
        <p:spPr>
          <a:xfrm>
            <a:off x="635070" y="1819841"/>
            <a:ext cx="3629525" cy="375487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a:ea typeface="+mn-ea"/>
                <a:cs typeface="+mn-cs"/>
              </a:rPr>
              <a:t>PCI DSS Penetration Testing</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000000"/>
              </a:solidFill>
              <a:effectLst/>
              <a:uLnTx/>
              <a:uFillTx/>
              <a:latin typeface="Calibri"/>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PCI DSS Pen-Testing is designed to include the assessment of network infrastructure and applications from both outside and inside CIRCLYS's network environ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PT exercise shall be performed on CIRCLYS’s complete Cardholder Data Environment (CDE) and includes any systems which may impact the security of the CDE. </a:t>
            </a:r>
          </a:p>
        </p:txBody>
      </p:sp>
      <p:sp>
        <p:nvSpPr>
          <p:cNvPr id="47" name="Callout: Bent Line 46">
            <a:extLst>
              <a:ext uri="{FF2B5EF4-FFF2-40B4-BE49-F238E27FC236}">
                <a16:creationId xmlns:a16="http://schemas.microsoft.com/office/drawing/2014/main" id="{959E1499-CA05-33E3-A200-2E13B63FDC7B}"/>
              </a:ext>
            </a:extLst>
          </p:cNvPr>
          <p:cNvSpPr/>
          <p:nvPr/>
        </p:nvSpPr>
        <p:spPr>
          <a:xfrm>
            <a:off x="8702401" y="5216410"/>
            <a:ext cx="3118715" cy="822960"/>
          </a:xfrm>
          <a:prstGeom prst="borderCallout2">
            <a:avLst>
              <a:gd name="adj1" fmla="val 59155"/>
              <a:gd name="adj2" fmla="val -754"/>
              <a:gd name="adj3" fmla="val 59459"/>
              <a:gd name="adj4" fmla="val -115047"/>
              <a:gd name="adj5" fmla="val -32740"/>
              <a:gd name="adj6" fmla="val -115025"/>
            </a:avLst>
          </a:prstGeom>
          <a:noFill/>
          <a:ln>
            <a:solidFill>
              <a:srgbClr val="BF9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4. Reporting &amp;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This phase includes reporting vulnerability based on industry best scoring systems like CVSS,NVD,VCE, CWE, BID,OSVDB etc.</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grpSp>
        <p:nvGrpSpPr>
          <p:cNvPr id="21" name="Group 20">
            <a:extLst>
              <a:ext uri="{FF2B5EF4-FFF2-40B4-BE49-F238E27FC236}">
                <a16:creationId xmlns:a16="http://schemas.microsoft.com/office/drawing/2014/main" id="{E65CCBAF-598D-7AEA-3630-DF733A087583}"/>
              </a:ext>
            </a:extLst>
          </p:cNvPr>
          <p:cNvGrpSpPr/>
          <p:nvPr/>
        </p:nvGrpSpPr>
        <p:grpSpPr>
          <a:xfrm>
            <a:off x="4602963" y="1907374"/>
            <a:ext cx="3678810" cy="3688080"/>
            <a:chOff x="4185947" y="1514486"/>
            <a:chExt cx="3823321" cy="3832957"/>
          </a:xfrm>
        </p:grpSpPr>
        <p:sp>
          <p:nvSpPr>
            <p:cNvPr id="22" name="Freeform: Shape 21">
              <a:extLst>
                <a:ext uri="{FF2B5EF4-FFF2-40B4-BE49-F238E27FC236}">
                  <a16:creationId xmlns:a16="http://schemas.microsoft.com/office/drawing/2014/main" id="{526421A7-B78A-1E0E-F02C-2038FFDE14CF}"/>
                </a:ext>
              </a:extLst>
            </p:cNvPr>
            <p:cNvSpPr/>
            <p:nvPr/>
          </p:nvSpPr>
          <p:spPr>
            <a:xfrm>
              <a:off x="4817514" y="1791172"/>
              <a:ext cx="1137999" cy="601794"/>
            </a:xfrm>
            <a:custGeom>
              <a:avLst/>
              <a:gdLst>
                <a:gd name="connsiteX0" fmla="*/ 1137999 w 1137998"/>
                <a:gd name="connsiteY0" fmla="*/ 205092 h 601793"/>
                <a:gd name="connsiteX1" fmla="*/ 620046 w 1137998"/>
                <a:gd name="connsiteY1" fmla="*/ 3105 h 601793"/>
                <a:gd name="connsiteX2" fmla="*/ 64337 w 1137998"/>
                <a:gd name="connsiteY2" fmla="*/ 496067 h 601793"/>
                <a:gd name="connsiteX3" fmla="*/ 494016 w 1137998"/>
                <a:gd name="connsiteY3" fmla="*/ 524271 h 601793"/>
                <a:gd name="connsiteX4" fmla="*/ 1137999 w 1137998"/>
                <a:gd name="connsiteY4" fmla="*/ 205092 h 601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998" h="601793">
                  <a:moveTo>
                    <a:pt x="1137999" y="205092"/>
                  </a:moveTo>
                  <a:cubicBezTo>
                    <a:pt x="1137999" y="205092"/>
                    <a:pt x="915572" y="24527"/>
                    <a:pt x="620046" y="3105"/>
                  </a:cubicBezTo>
                  <a:cubicBezTo>
                    <a:pt x="131101" y="-32240"/>
                    <a:pt x="-129348" y="240526"/>
                    <a:pt x="64337" y="496067"/>
                  </a:cubicBezTo>
                  <a:cubicBezTo>
                    <a:pt x="194830" y="668241"/>
                    <a:pt x="412704" y="594337"/>
                    <a:pt x="494016" y="524271"/>
                  </a:cubicBezTo>
                  <a:cubicBezTo>
                    <a:pt x="665655" y="376642"/>
                    <a:pt x="810607" y="113604"/>
                    <a:pt x="1137999" y="205092"/>
                  </a:cubicBezTo>
                  <a:close/>
                </a:path>
              </a:pathLst>
            </a:custGeom>
            <a:solidFill>
              <a:srgbClr val="4472C4">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3" name="Freeform: Shape 22">
              <a:extLst>
                <a:ext uri="{FF2B5EF4-FFF2-40B4-BE49-F238E27FC236}">
                  <a16:creationId xmlns:a16="http://schemas.microsoft.com/office/drawing/2014/main" id="{F8D4A42D-383D-5644-C164-075E870A4175}"/>
                </a:ext>
              </a:extLst>
            </p:cNvPr>
            <p:cNvSpPr/>
            <p:nvPr/>
          </p:nvSpPr>
          <p:spPr>
            <a:xfrm>
              <a:off x="4914965" y="1514486"/>
              <a:ext cx="2252713" cy="1188548"/>
            </a:xfrm>
            <a:custGeom>
              <a:avLst/>
              <a:gdLst>
                <a:gd name="connsiteX0" fmla="*/ 0 w 2252712"/>
                <a:gd name="connsiteY0" fmla="*/ 407248 h 1188547"/>
                <a:gd name="connsiteX1" fmla="*/ 1028141 w 2252712"/>
                <a:gd name="connsiteY1" fmla="*/ 6131 h 1188547"/>
                <a:gd name="connsiteX2" fmla="*/ 2125633 w 2252712"/>
                <a:gd name="connsiteY2" fmla="*/ 979736 h 1188547"/>
                <a:gd name="connsiteX3" fmla="*/ 1276987 w 2252712"/>
                <a:gd name="connsiteY3" fmla="*/ 1035521 h 1188547"/>
                <a:gd name="connsiteX4" fmla="*/ 0 w 2252712"/>
                <a:gd name="connsiteY4" fmla="*/ 407248 h 1188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2712" h="1188547">
                  <a:moveTo>
                    <a:pt x="0" y="407248"/>
                  </a:moveTo>
                  <a:cubicBezTo>
                    <a:pt x="0" y="407248"/>
                    <a:pt x="444585" y="48260"/>
                    <a:pt x="1028141" y="6131"/>
                  </a:cubicBezTo>
                  <a:cubicBezTo>
                    <a:pt x="1993802" y="-63667"/>
                    <a:pt x="2508185" y="475083"/>
                    <a:pt x="2125633" y="979736"/>
                  </a:cubicBezTo>
                  <a:cubicBezTo>
                    <a:pt x="1867773" y="1319802"/>
                    <a:pt x="1437648" y="1173779"/>
                    <a:pt x="1276987" y="1035521"/>
                  </a:cubicBezTo>
                  <a:cubicBezTo>
                    <a:pt x="938171" y="743832"/>
                    <a:pt x="646571" y="226415"/>
                    <a:pt x="0" y="407248"/>
                  </a:cubicBezTo>
                  <a:close/>
                </a:path>
              </a:pathLst>
            </a:custGeom>
            <a:solidFill>
              <a:srgbClr val="4472C4"/>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5" name="Freeform: Shape 24">
              <a:extLst>
                <a:ext uri="{FF2B5EF4-FFF2-40B4-BE49-F238E27FC236}">
                  <a16:creationId xmlns:a16="http://schemas.microsoft.com/office/drawing/2014/main" id="{6FFA4179-3D49-797E-A1E7-6D6024A3D7CD}"/>
                </a:ext>
              </a:extLst>
            </p:cNvPr>
            <p:cNvSpPr/>
            <p:nvPr/>
          </p:nvSpPr>
          <p:spPr>
            <a:xfrm>
              <a:off x="4814235" y="1866145"/>
              <a:ext cx="1975198" cy="847612"/>
            </a:xfrm>
            <a:custGeom>
              <a:avLst/>
              <a:gdLst>
                <a:gd name="connsiteX0" fmla="*/ 113940 w 1975197"/>
                <a:gd name="connsiteY0" fmla="*/ 49965 h 847612"/>
                <a:gd name="connsiteX1" fmla="*/ 1380038 w 1975197"/>
                <a:gd name="connsiteY1" fmla="*/ 682254 h 847612"/>
                <a:gd name="connsiteX2" fmla="*/ 1975197 w 1975197"/>
                <a:gd name="connsiteY2" fmla="*/ 807124 h 847612"/>
                <a:gd name="connsiteX3" fmla="*/ 1339962 w 1975197"/>
                <a:gd name="connsiteY3" fmla="*/ 697428 h 847612"/>
                <a:gd name="connsiteX4" fmla="*/ 116707 w 1975197"/>
                <a:gd name="connsiteY4" fmla="*/ 74064 h 847612"/>
                <a:gd name="connsiteX5" fmla="*/ 81094 w 1975197"/>
                <a:gd name="connsiteY5" fmla="*/ 417342 h 847612"/>
                <a:gd name="connsiteX6" fmla="*/ 274869 w 1975197"/>
                <a:gd name="connsiteY6" fmla="*/ 526860 h 847612"/>
                <a:gd name="connsiteX7" fmla="*/ 58780 w 1975197"/>
                <a:gd name="connsiteY7" fmla="*/ 417521 h 847612"/>
                <a:gd name="connsiteX8" fmla="*/ 78684 w 1975197"/>
                <a:gd name="connsiteY8" fmla="*/ 76384 h 847612"/>
                <a:gd name="connsiteX9" fmla="*/ 113940 w 1975197"/>
                <a:gd name="connsiteY9" fmla="*/ 49965 h 84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5197" h="847612">
                  <a:moveTo>
                    <a:pt x="113940" y="49965"/>
                  </a:moveTo>
                  <a:cubicBezTo>
                    <a:pt x="721328" y="-170052"/>
                    <a:pt x="1041222" y="390566"/>
                    <a:pt x="1380038" y="682254"/>
                  </a:cubicBezTo>
                  <a:cubicBezTo>
                    <a:pt x="1496338" y="782400"/>
                    <a:pt x="1743845" y="886561"/>
                    <a:pt x="1975197" y="807124"/>
                  </a:cubicBezTo>
                  <a:cubicBezTo>
                    <a:pt x="1737419" y="907983"/>
                    <a:pt x="1461885" y="801054"/>
                    <a:pt x="1339962" y="697428"/>
                  </a:cubicBezTo>
                  <a:cubicBezTo>
                    <a:pt x="1001146" y="409577"/>
                    <a:pt x="615470" y="-145149"/>
                    <a:pt x="116707" y="74064"/>
                  </a:cubicBezTo>
                  <a:cubicBezTo>
                    <a:pt x="44231" y="105928"/>
                    <a:pt x="-36189" y="266232"/>
                    <a:pt x="81094" y="417342"/>
                  </a:cubicBezTo>
                  <a:cubicBezTo>
                    <a:pt x="138218" y="490979"/>
                    <a:pt x="204000" y="524182"/>
                    <a:pt x="274869" y="526860"/>
                  </a:cubicBezTo>
                  <a:cubicBezTo>
                    <a:pt x="197038" y="529716"/>
                    <a:pt x="123491" y="498030"/>
                    <a:pt x="58780" y="417521"/>
                  </a:cubicBezTo>
                  <a:cubicBezTo>
                    <a:pt x="-44489" y="289171"/>
                    <a:pt x="5226" y="151716"/>
                    <a:pt x="78684" y="76384"/>
                  </a:cubicBezTo>
                  <a:cubicBezTo>
                    <a:pt x="88949" y="65763"/>
                    <a:pt x="100195" y="54963"/>
                    <a:pt x="113940" y="49965"/>
                  </a:cubicBezTo>
                  <a:close/>
                </a:path>
              </a:pathLst>
            </a:custGeom>
            <a:solidFill>
              <a:srgbClr val="4472C4">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6" name="Freeform: Shape 25">
              <a:extLst>
                <a:ext uri="{FF2B5EF4-FFF2-40B4-BE49-F238E27FC236}">
                  <a16:creationId xmlns:a16="http://schemas.microsoft.com/office/drawing/2014/main" id="{30D1DEF5-010A-A0F3-8BA7-EB2E665E33D4}"/>
                </a:ext>
              </a:extLst>
            </p:cNvPr>
            <p:cNvSpPr/>
            <p:nvPr/>
          </p:nvSpPr>
          <p:spPr>
            <a:xfrm>
              <a:off x="7130781" y="2158280"/>
              <a:ext cx="601802" cy="1137908"/>
            </a:xfrm>
            <a:custGeom>
              <a:avLst/>
              <a:gdLst>
                <a:gd name="connsiteX0" fmla="*/ 396710 w 601801"/>
                <a:gd name="connsiteY0" fmla="*/ 1137909 h 1137908"/>
                <a:gd name="connsiteX1" fmla="*/ 598697 w 601801"/>
                <a:gd name="connsiteY1" fmla="*/ 620045 h 1137908"/>
                <a:gd name="connsiteX2" fmla="*/ 105735 w 601801"/>
                <a:gd name="connsiteY2" fmla="*/ 64337 h 1137908"/>
                <a:gd name="connsiteX3" fmla="*/ 77441 w 601801"/>
                <a:gd name="connsiteY3" fmla="*/ 494016 h 1137908"/>
                <a:gd name="connsiteX4" fmla="*/ 396710 w 601801"/>
                <a:gd name="connsiteY4" fmla="*/ 1137909 h 1137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801" h="1137908">
                  <a:moveTo>
                    <a:pt x="396710" y="1137909"/>
                  </a:moveTo>
                  <a:cubicBezTo>
                    <a:pt x="396710" y="1137909"/>
                    <a:pt x="577275" y="915483"/>
                    <a:pt x="598697" y="620045"/>
                  </a:cubicBezTo>
                  <a:cubicBezTo>
                    <a:pt x="634042" y="131101"/>
                    <a:pt x="361275" y="-129348"/>
                    <a:pt x="105735" y="64337"/>
                  </a:cubicBezTo>
                  <a:cubicBezTo>
                    <a:pt x="-66440" y="194830"/>
                    <a:pt x="7464" y="412704"/>
                    <a:pt x="77441" y="494016"/>
                  </a:cubicBezTo>
                  <a:cubicBezTo>
                    <a:pt x="225160" y="665566"/>
                    <a:pt x="488197" y="810518"/>
                    <a:pt x="396710" y="1137909"/>
                  </a:cubicBezTo>
                  <a:close/>
                </a:path>
              </a:pathLst>
            </a:custGeom>
            <a:solidFill>
              <a:srgbClr val="ED7D31">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7" name="Freeform: Shape 26">
              <a:extLst>
                <a:ext uri="{FF2B5EF4-FFF2-40B4-BE49-F238E27FC236}">
                  <a16:creationId xmlns:a16="http://schemas.microsoft.com/office/drawing/2014/main" id="{9A256938-4974-1C30-A989-03EC612BFD3A}"/>
                </a:ext>
              </a:extLst>
            </p:cNvPr>
            <p:cNvSpPr/>
            <p:nvPr/>
          </p:nvSpPr>
          <p:spPr>
            <a:xfrm>
              <a:off x="6820720" y="2255641"/>
              <a:ext cx="1188548" cy="2252747"/>
            </a:xfrm>
            <a:custGeom>
              <a:avLst/>
              <a:gdLst>
                <a:gd name="connsiteX0" fmla="*/ 781300 w 1188548"/>
                <a:gd name="connsiteY0" fmla="*/ 0 h 2252747"/>
                <a:gd name="connsiteX1" fmla="*/ 1182417 w 1188548"/>
                <a:gd name="connsiteY1" fmla="*/ 1028140 h 2252747"/>
                <a:gd name="connsiteX2" fmla="*/ 208811 w 1188548"/>
                <a:gd name="connsiteY2" fmla="*/ 2125633 h 2252747"/>
                <a:gd name="connsiteX3" fmla="*/ 153026 w 1188548"/>
                <a:gd name="connsiteY3" fmla="*/ 1276986 h 2252747"/>
                <a:gd name="connsiteX4" fmla="*/ 781300 w 1188548"/>
                <a:gd name="connsiteY4" fmla="*/ 0 h 2252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48" h="2252747">
                  <a:moveTo>
                    <a:pt x="781300" y="0"/>
                  </a:moveTo>
                  <a:cubicBezTo>
                    <a:pt x="781300" y="0"/>
                    <a:pt x="1140288" y="444584"/>
                    <a:pt x="1182417" y="1028140"/>
                  </a:cubicBezTo>
                  <a:cubicBezTo>
                    <a:pt x="1252215" y="1993802"/>
                    <a:pt x="713465" y="2508273"/>
                    <a:pt x="208811" y="2125633"/>
                  </a:cubicBezTo>
                  <a:cubicBezTo>
                    <a:pt x="-131254" y="1867772"/>
                    <a:pt x="14769" y="1437647"/>
                    <a:pt x="153026" y="1276986"/>
                  </a:cubicBezTo>
                  <a:cubicBezTo>
                    <a:pt x="444804" y="938170"/>
                    <a:pt x="962133" y="646482"/>
                    <a:pt x="781300" y="0"/>
                  </a:cubicBezTo>
                  <a:close/>
                </a:path>
              </a:pathLst>
            </a:custGeom>
            <a:solidFill>
              <a:srgbClr val="ED7D31"/>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8" name="Freeform: Shape 27">
              <a:extLst>
                <a:ext uri="{FF2B5EF4-FFF2-40B4-BE49-F238E27FC236}">
                  <a16:creationId xmlns:a16="http://schemas.microsoft.com/office/drawing/2014/main" id="{25450A2E-FDE3-10B4-3110-889EF25EEB1C}"/>
                </a:ext>
              </a:extLst>
            </p:cNvPr>
            <p:cNvSpPr/>
            <p:nvPr/>
          </p:nvSpPr>
          <p:spPr>
            <a:xfrm>
              <a:off x="6809995" y="2154821"/>
              <a:ext cx="847613" cy="1975285"/>
            </a:xfrm>
            <a:custGeom>
              <a:avLst/>
              <a:gdLst>
                <a:gd name="connsiteX0" fmla="*/ 797649 w 847613"/>
                <a:gd name="connsiteY0" fmla="*/ 114029 h 1975285"/>
                <a:gd name="connsiteX1" fmla="*/ 165359 w 847613"/>
                <a:gd name="connsiteY1" fmla="*/ 1380126 h 1975285"/>
                <a:gd name="connsiteX2" fmla="*/ 40489 w 847613"/>
                <a:gd name="connsiteY2" fmla="*/ 1975286 h 1975285"/>
                <a:gd name="connsiteX3" fmla="*/ 150185 w 847613"/>
                <a:gd name="connsiteY3" fmla="*/ 1339961 h 1975285"/>
                <a:gd name="connsiteX4" fmla="*/ 773550 w 847613"/>
                <a:gd name="connsiteY4" fmla="*/ 116707 h 1975285"/>
                <a:gd name="connsiteX5" fmla="*/ 430271 w 847613"/>
                <a:gd name="connsiteY5" fmla="*/ 81094 h 1975285"/>
                <a:gd name="connsiteX6" fmla="*/ 320753 w 847613"/>
                <a:gd name="connsiteY6" fmla="*/ 274869 h 1975285"/>
                <a:gd name="connsiteX7" fmla="*/ 430092 w 847613"/>
                <a:gd name="connsiteY7" fmla="*/ 58780 h 1975285"/>
                <a:gd name="connsiteX8" fmla="*/ 771229 w 847613"/>
                <a:gd name="connsiteY8" fmla="*/ 78684 h 1975285"/>
                <a:gd name="connsiteX9" fmla="*/ 797649 w 847613"/>
                <a:gd name="connsiteY9" fmla="*/ 114029 h 19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613" h="1975285">
                  <a:moveTo>
                    <a:pt x="797649" y="114029"/>
                  </a:moveTo>
                  <a:cubicBezTo>
                    <a:pt x="1017665" y="721417"/>
                    <a:pt x="457048" y="1041310"/>
                    <a:pt x="165359" y="1380126"/>
                  </a:cubicBezTo>
                  <a:cubicBezTo>
                    <a:pt x="65213" y="1496516"/>
                    <a:pt x="-38948" y="1744023"/>
                    <a:pt x="40489" y="1975286"/>
                  </a:cubicBezTo>
                  <a:cubicBezTo>
                    <a:pt x="-60370" y="1737508"/>
                    <a:pt x="46559" y="1461974"/>
                    <a:pt x="150185" y="1339961"/>
                  </a:cubicBezTo>
                  <a:cubicBezTo>
                    <a:pt x="438036" y="1001145"/>
                    <a:pt x="992673" y="615470"/>
                    <a:pt x="773550" y="116707"/>
                  </a:cubicBezTo>
                  <a:cubicBezTo>
                    <a:pt x="741685" y="44231"/>
                    <a:pt x="581381" y="-36188"/>
                    <a:pt x="430271" y="81094"/>
                  </a:cubicBezTo>
                  <a:cubicBezTo>
                    <a:pt x="356635" y="138218"/>
                    <a:pt x="323431" y="204000"/>
                    <a:pt x="320753" y="274869"/>
                  </a:cubicBezTo>
                  <a:cubicBezTo>
                    <a:pt x="317897" y="197038"/>
                    <a:pt x="349583" y="123491"/>
                    <a:pt x="430092" y="58780"/>
                  </a:cubicBezTo>
                  <a:cubicBezTo>
                    <a:pt x="558532" y="-44489"/>
                    <a:pt x="695897" y="5226"/>
                    <a:pt x="771229" y="78684"/>
                  </a:cubicBezTo>
                  <a:cubicBezTo>
                    <a:pt x="781850" y="89038"/>
                    <a:pt x="792650" y="100284"/>
                    <a:pt x="797649" y="114029"/>
                  </a:cubicBezTo>
                  <a:close/>
                </a:path>
              </a:pathLst>
            </a:custGeom>
            <a:solidFill>
              <a:srgbClr val="ED7D31">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9" name="Freeform: Shape 28">
              <a:extLst>
                <a:ext uri="{FF2B5EF4-FFF2-40B4-BE49-F238E27FC236}">
                  <a16:creationId xmlns:a16="http://schemas.microsoft.com/office/drawing/2014/main" id="{16152BF7-34CC-99EC-5186-A77428042C78}"/>
                </a:ext>
              </a:extLst>
            </p:cNvPr>
            <p:cNvSpPr/>
            <p:nvPr/>
          </p:nvSpPr>
          <p:spPr>
            <a:xfrm>
              <a:off x="6239706" y="4468957"/>
              <a:ext cx="1137999" cy="601802"/>
            </a:xfrm>
            <a:custGeom>
              <a:avLst/>
              <a:gdLst>
                <a:gd name="connsiteX0" fmla="*/ 0 w 1137998"/>
                <a:gd name="connsiteY0" fmla="*/ 396710 h 601801"/>
                <a:gd name="connsiteX1" fmla="*/ 517953 w 1137998"/>
                <a:gd name="connsiteY1" fmla="*/ 598696 h 601801"/>
                <a:gd name="connsiteX2" fmla="*/ 1073661 w 1137998"/>
                <a:gd name="connsiteY2" fmla="*/ 105735 h 601801"/>
                <a:gd name="connsiteX3" fmla="*/ 643983 w 1137998"/>
                <a:gd name="connsiteY3" fmla="*/ 77441 h 601801"/>
                <a:gd name="connsiteX4" fmla="*/ 0 w 1137998"/>
                <a:gd name="connsiteY4" fmla="*/ 396710 h 601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998" h="601801">
                  <a:moveTo>
                    <a:pt x="0" y="396710"/>
                  </a:moveTo>
                  <a:cubicBezTo>
                    <a:pt x="0" y="396710"/>
                    <a:pt x="222426" y="577275"/>
                    <a:pt x="517953" y="598696"/>
                  </a:cubicBezTo>
                  <a:cubicBezTo>
                    <a:pt x="1006898" y="634041"/>
                    <a:pt x="1267347" y="361275"/>
                    <a:pt x="1073661" y="105735"/>
                  </a:cubicBezTo>
                  <a:cubicBezTo>
                    <a:pt x="943169" y="-66440"/>
                    <a:pt x="725295" y="7464"/>
                    <a:pt x="643983" y="77441"/>
                  </a:cubicBezTo>
                  <a:cubicBezTo>
                    <a:pt x="472432" y="225159"/>
                    <a:pt x="327391" y="488197"/>
                    <a:pt x="0" y="396710"/>
                  </a:cubicBezTo>
                  <a:close/>
                </a:path>
              </a:pathLst>
            </a:custGeom>
            <a:solidFill>
              <a:srgbClr val="A5A5A5">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0" name="Freeform: Shape 29">
              <a:extLst>
                <a:ext uri="{FF2B5EF4-FFF2-40B4-BE49-F238E27FC236}">
                  <a16:creationId xmlns:a16="http://schemas.microsoft.com/office/drawing/2014/main" id="{93656490-BA28-F9CF-A80E-5871EF9A1F73}"/>
                </a:ext>
              </a:extLst>
            </p:cNvPr>
            <p:cNvSpPr/>
            <p:nvPr/>
          </p:nvSpPr>
          <p:spPr>
            <a:xfrm>
              <a:off x="5027593" y="4158895"/>
              <a:ext cx="2252749" cy="1188548"/>
            </a:xfrm>
            <a:custGeom>
              <a:avLst/>
              <a:gdLst>
                <a:gd name="connsiteX0" fmla="*/ 2252749 w 2252748"/>
                <a:gd name="connsiteY0" fmla="*/ 781299 h 1188547"/>
                <a:gd name="connsiteX1" fmla="*/ 1224608 w 2252748"/>
                <a:gd name="connsiteY1" fmla="*/ 1182416 h 1188547"/>
                <a:gd name="connsiteX2" fmla="*/ 127115 w 2252748"/>
                <a:gd name="connsiteY2" fmla="*/ 208811 h 1188547"/>
                <a:gd name="connsiteX3" fmla="*/ 975762 w 2252748"/>
                <a:gd name="connsiteY3" fmla="*/ 153026 h 1188547"/>
                <a:gd name="connsiteX4" fmla="*/ 2252749 w 2252748"/>
                <a:gd name="connsiteY4" fmla="*/ 781299 h 1188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2748" h="1188547">
                  <a:moveTo>
                    <a:pt x="2252749" y="781299"/>
                  </a:moveTo>
                  <a:cubicBezTo>
                    <a:pt x="2252749" y="781299"/>
                    <a:pt x="1808164" y="1140287"/>
                    <a:pt x="1224608" y="1182416"/>
                  </a:cubicBezTo>
                  <a:cubicBezTo>
                    <a:pt x="258946" y="1252214"/>
                    <a:pt x="-255526" y="713465"/>
                    <a:pt x="127115" y="208811"/>
                  </a:cubicBezTo>
                  <a:cubicBezTo>
                    <a:pt x="384976" y="-131254"/>
                    <a:pt x="815101" y="14769"/>
                    <a:pt x="975762" y="153026"/>
                  </a:cubicBezTo>
                  <a:cubicBezTo>
                    <a:pt x="1314489" y="444715"/>
                    <a:pt x="1606178" y="962132"/>
                    <a:pt x="2252749" y="781299"/>
                  </a:cubicBezTo>
                  <a:close/>
                </a:path>
              </a:pathLst>
            </a:custGeom>
            <a:solidFill>
              <a:srgbClr val="A5A5A5"/>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1" name="Freeform: Shape 30">
              <a:extLst>
                <a:ext uri="{FF2B5EF4-FFF2-40B4-BE49-F238E27FC236}">
                  <a16:creationId xmlns:a16="http://schemas.microsoft.com/office/drawing/2014/main" id="{59939129-DDA9-04A6-B52C-7BAE78A13738}"/>
                </a:ext>
              </a:extLst>
            </p:cNvPr>
            <p:cNvSpPr/>
            <p:nvPr/>
          </p:nvSpPr>
          <p:spPr>
            <a:xfrm>
              <a:off x="5405785" y="4148169"/>
              <a:ext cx="1975376" cy="847613"/>
            </a:xfrm>
            <a:custGeom>
              <a:avLst/>
              <a:gdLst>
                <a:gd name="connsiteX0" fmla="*/ 1861257 w 1975375"/>
                <a:gd name="connsiteY0" fmla="*/ 797649 h 847613"/>
                <a:gd name="connsiteX1" fmla="*/ 595160 w 1975375"/>
                <a:gd name="connsiteY1" fmla="*/ 165359 h 847613"/>
                <a:gd name="connsiteX2" fmla="*/ 0 w 1975375"/>
                <a:gd name="connsiteY2" fmla="*/ 40489 h 847613"/>
                <a:gd name="connsiteX3" fmla="*/ 635235 w 1975375"/>
                <a:gd name="connsiteY3" fmla="*/ 150185 h 847613"/>
                <a:gd name="connsiteX4" fmla="*/ 1858490 w 1975375"/>
                <a:gd name="connsiteY4" fmla="*/ 773549 h 847613"/>
                <a:gd name="connsiteX5" fmla="*/ 1894193 w 1975375"/>
                <a:gd name="connsiteY5" fmla="*/ 430271 h 847613"/>
                <a:gd name="connsiteX6" fmla="*/ 1700417 w 1975375"/>
                <a:gd name="connsiteY6" fmla="*/ 320754 h 847613"/>
                <a:gd name="connsiteX7" fmla="*/ 1916596 w 1975375"/>
                <a:gd name="connsiteY7" fmla="*/ 430003 h 847613"/>
                <a:gd name="connsiteX8" fmla="*/ 1896692 w 1975375"/>
                <a:gd name="connsiteY8" fmla="*/ 771139 h 847613"/>
                <a:gd name="connsiteX9" fmla="*/ 1861257 w 1975375"/>
                <a:gd name="connsiteY9" fmla="*/ 797649 h 84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5375" h="847613">
                  <a:moveTo>
                    <a:pt x="1861257" y="797649"/>
                  </a:moveTo>
                  <a:cubicBezTo>
                    <a:pt x="1253869" y="1017665"/>
                    <a:pt x="933976" y="457047"/>
                    <a:pt x="595160" y="165359"/>
                  </a:cubicBezTo>
                  <a:cubicBezTo>
                    <a:pt x="478770" y="65213"/>
                    <a:pt x="231263" y="-38948"/>
                    <a:pt x="0" y="40489"/>
                  </a:cubicBezTo>
                  <a:cubicBezTo>
                    <a:pt x="237778" y="-60370"/>
                    <a:pt x="513312" y="46559"/>
                    <a:pt x="635235" y="150185"/>
                  </a:cubicBezTo>
                  <a:cubicBezTo>
                    <a:pt x="974052" y="438036"/>
                    <a:pt x="1359727" y="992762"/>
                    <a:pt x="1858490" y="773549"/>
                  </a:cubicBezTo>
                  <a:cubicBezTo>
                    <a:pt x="1930966" y="741685"/>
                    <a:pt x="2011386" y="581381"/>
                    <a:pt x="1894193" y="430271"/>
                  </a:cubicBezTo>
                  <a:cubicBezTo>
                    <a:pt x="1837069" y="356634"/>
                    <a:pt x="1771287" y="323431"/>
                    <a:pt x="1700417" y="320754"/>
                  </a:cubicBezTo>
                  <a:cubicBezTo>
                    <a:pt x="1778249" y="317897"/>
                    <a:pt x="1851796" y="349583"/>
                    <a:pt x="1916596" y="430003"/>
                  </a:cubicBezTo>
                  <a:cubicBezTo>
                    <a:pt x="2019865" y="558442"/>
                    <a:pt x="1970149" y="695807"/>
                    <a:pt x="1896692" y="771139"/>
                  </a:cubicBezTo>
                  <a:cubicBezTo>
                    <a:pt x="1886338" y="781850"/>
                    <a:pt x="1875002" y="792650"/>
                    <a:pt x="1861257" y="797649"/>
                  </a:cubicBezTo>
                  <a:close/>
                </a:path>
              </a:pathLst>
            </a:custGeom>
            <a:solidFill>
              <a:srgbClr val="A5A5A5">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2" name="Freeform: Shape 31">
              <a:extLst>
                <a:ext uri="{FF2B5EF4-FFF2-40B4-BE49-F238E27FC236}">
                  <a16:creationId xmlns:a16="http://schemas.microsoft.com/office/drawing/2014/main" id="{FC68286E-65E1-96D5-C810-918B9798F19F}"/>
                </a:ext>
              </a:extLst>
            </p:cNvPr>
            <p:cNvSpPr/>
            <p:nvPr/>
          </p:nvSpPr>
          <p:spPr>
            <a:xfrm>
              <a:off x="4462634" y="3570382"/>
              <a:ext cx="601802" cy="1137956"/>
            </a:xfrm>
            <a:custGeom>
              <a:avLst/>
              <a:gdLst>
                <a:gd name="connsiteX0" fmla="*/ 205092 w 601801"/>
                <a:gd name="connsiteY0" fmla="*/ 0 h 1137956"/>
                <a:gd name="connsiteX1" fmla="*/ 3105 w 601801"/>
                <a:gd name="connsiteY1" fmla="*/ 517953 h 1137956"/>
                <a:gd name="connsiteX2" fmla="*/ 496067 w 601801"/>
                <a:gd name="connsiteY2" fmla="*/ 1073572 h 1137956"/>
                <a:gd name="connsiteX3" fmla="*/ 524361 w 601801"/>
                <a:gd name="connsiteY3" fmla="*/ 643893 h 1137956"/>
                <a:gd name="connsiteX4" fmla="*/ 205092 w 601801"/>
                <a:gd name="connsiteY4" fmla="*/ 0 h 1137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801" h="1137956">
                  <a:moveTo>
                    <a:pt x="205092" y="0"/>
                  </a:moveTo>
                  <a:cubicBezTo>
                    <a:pt x="205092" y="0"/>
                    <a:pt x="24527" y="222426"/>
                    <a:pt x="3105" y="517953"/>
                  </a:cubicBezTo>
                  <a:cubicBezTo>
                    <a:pt x="-32240" y="1006897"/>
                    <a:pt x="240527" y="1267346"/>
                    <a:pt x="496067" y="1073572"/>
                  </a:cubicBezTo>
                  <a:cubicBezTo>
                    <a:pt x="668242" y="943079"/>
                    <a:pt x="594338" y="725205"/>
                    <a:pt x="524361" y="643893"/>
                  </a:cubicBezTo>
                  <a:cubicBezTo>
                    <a:pt x="376642" y="472343"/>
                    <a:pt x="113604" y="327391"/>
                    <a:pt x="205092" y="0"/>
                  </a:cubicBezTo>
                  <a:close/>
                </a:path>
              </a:pathLst>
            </a:custGeom>
            <a:solidFill>
              <a:srgbClr val="FFC000">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3" name="Freeform: Shape 32">
              <a:extLst>
                <a:ext uri="{FF2B5EF4-FFF2-40B4-BE49-F238E27FC236}">
                  <a16:creationId xmlns:a16="http://schemas.microsoft.com/office/drawing/2014/main" id="{DC87F930-A364-FE9B-532A-2C4B66DA576F}"/>
                </a:ext>
              </a:extLst>
            </p:cNvPr>
            <p:cNvSpPr/>
            <p:nvPr/>
          </p:nvSpPr>
          <p:spPr>
            <a:xfrm>
              <a:off x="4185947" y="2358217"/>
              <a:ext cx="1188548" cy="2252711"/>
            </a:xfrm>
            <a:custGeom>
              <a:avLst/>
              <a:gdLst>
                <a:gd name="connsiteX0" fmla="*/ 407248 w 1188547"/>
                <a:gd name="connsiteY0" fmla="*/ 2252712 h 2252711"/>
                <a:gd name="connsiteX1" fmla="*/ 6131 w 1188547"/>
                <a:gd name="connsiteY1" fmla="*/ 1224571 h 2252711"/>
                <a:gd name="connsiteX2" fmla="*/ 979737 w 1188547"/>
                <a:gd name="connsiteY2" fmla="*/ 127079 h 2252711"/>
                <a:gd name="connsiteX3" fmla="*/ 1035522 w 1188547"/>
                <a:gd name="connsiteY3" fmla="*/ 975725 h 2252711"/>
                <a:gd name="connsiteX4" fmla="*/ 407248 w 1188547"/>
                <a:gd name="connsiteY4" fmla="*/ 2252712 h 2252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47" h="2252711">
                  <a:moveTo>
                    <a:pt x="407248" y="2252712"/>
                  </a:moveTo>
                  <a:cubicBezTo>
                    <a:pt x="407248" y="2252712"/>
                    <a:pt x="48260" y="1808127"/>
                    <a:pt x="6131" y="1224571"/>
                  </a:cubicBezTo>
                  <a:cubicBezTo>
                    <a:pt x="-63667" y="258910"/>
                    <a:pt x="475083" y="-255473"/>
                    <a:pt x="979737" y="127079"/>
                  </a:cubicBezTo>
                  <a:cubicBezTo>
                    <a:pt x="1319802" y="384939"/>
                    <a:pt x="1173779" y="815064"/>
                    <a:pt x="1035522" y="975725"/>
                  </a:cubicBezTo>
                  <a:cubicBezTo>
                    <a:pt x="743833" y="1314541"/>
                    <a:pt x="226415" y="1606230"/>
                    <a:pt x="407248" y="2252712"/>
                  </a:cubicBezTo>
                  <a:close/>
                </a:path>
              </a:pathLst>
            </a:custGeom>
            <a:solidFill>
              <a:srgbClr val="FFC000"/>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4" name="Freeform: Shape 33">
              <a:extLst>
                <a:ext uri="{FF2B5EF4-FFF2-40B4-BE49-F238E27FC236}">
                  <a16:creationId xmlns:a16="http://schemas.microsoft.com/office/drawing/2014/main" id="{F198710E-D660-C5EC-FBE4-D05C325B3B21}"/>
                </a:ext>
              </a:extLst>
            </p:cNvPr>
            <p:cNvSpPr/>
            <p:nvPr/>
          </p:nvSpPr>
          <p:spPr>
            <a:xfrm>
              <a:off x="4537607" y="2736463"/>
              <a:ext cx="847613" cy="1975323"/>
            </a:xfrm>
            <a:custGeom>
              <a:avLst/>
              <a:gdLst>
                <a:gd name="connsiteX0" fmla="*/ 49965 w 847613"/>
                <a:gd name="connsiteY0" fmla="*/ 1861256 h 1975323"/>
                <a:gd name="connsiteX1" fmla="*/ 682255 w 847613"/>
                <a:gd name="connsiteY1" fmla="*/ 595159 h 1975323"/>
                <a:gd name="connsiteX2" fmla="*/ 807124 w 847613"/>
                <a:gd name="connsiteY2" fmla="*/ 0 h 1975323"/>
                <a:gd name="connsiteX3" fmla="*/ 697428 w 847613"/>
                <a:gd name="connsiteY3" fmla="*/ 635235 h 1975323"/>
                <a:gd name="connsiteX4" fmla="*/ 74064 w 847613"/>
                <a:gd name="connsiteY4" fmla="*/ 1858489 h 1975323"/>
                <a:gd name="connsiteX5" fmla="*/ 417343 w 847613"/>
                <a:gd name="connsiteY5" fmla="*/ 1894102 h 1975323"/>
                <a:gd name="connsiteX6" fmla="*/ 526949 w 847613"/>
                <a:gd name="connsiteY6" fmla="*/ 1700328 h 1975323"/>
                <a:gd name="connsiteX7" fmla="*/ 417610 w 847613"/>
                <a:gd name="connsiteY7" fmla="*/ 1916506 h 1975323"/>
                <a:gd name="connsiteX8" fmla="*/ 76474 w 847613"/>
                <a:gd name="connsiteY8" fmla="*/ 1896602 h 1975323"/>
                <a:gd name="connsiteX9" fmla="*/ 49965 w 847613"/>
                <a:gd name="connsiteY9" fmla="*/ 1861256 h 19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613" h="1975323">
                  <a:moveTo>
                    <a:pt x="49965" y="1861256"/>
                  </a:moveTo>
                  <a:cubicBezTo>
                    <a:pt x="-170052" y="1253869"/>
                    <a:pt x="390566" y="933975"/>
                    <a:pt x="682255" y="595159"/>
                  </a:cubicBezTo>
                  <a:cubicBezTo>
                    <a:pt x="782400" y="478859"/>
                    <a:pt x="886562" y="231352"/>
                    <a:pt x="807124" y="0"/>
                  </a:cubicBezTo>
                  <a:cubicBezTo>
                    <a:pt x="907983" y="237778"/>
                    <a:pt x="801054" y="513311"/>
                    <a:pt x="697428" y="635235"/>
                  </a:cubicBezTo>
                  <a:cubicBezTo>
                    <a:pt x="409577" y="974051"/>
                    <a:pt x="-145149" y="1359727"/>
                    <a:pt x="74064" y="1858489"/>
                  </a:cubicBezTo>
                  <a:cubicBezTo>
                    <a:pt x="105928" y="1930965"/>
                    <a:pt x="266232" y="2011385"/>
                    <a:pt x="417343" y="1894102"/>
                  </a:cubicBezTo>
                  <a:cubicBezTo>
                    <a:pt x="490979" y="1836979"/>
                    <a:pt x="524182" y="1771197"/>
                    <a:pt x="526949" y="1700328"/>
                  </a:cubicBezTo>
                  <a:cubicBezTo>
                    <a:pt x="529805" y="1778159"/>
                    <a:pt x="498119" y="1851706"/>
                    <a:pt x="417610" y="1916506"/>
                  </a:cubicBezTo>
                  <a:cubicBezTo>
                    <a:pt x="289171" y="2019864"/>
                    <a:pt x="151806" y="1970059"/>
                    <a:pt x="76474" y="1896602"/>
                  </a:cubicBezTo>
                  <a:cubicBezTo>
                    <a:pt x="65763" y="1886248"/>
                    <a:pt x="54963" y="1875002"/>
                    <a:pt x="49965" y="1861256"/>
                  </a:cubicBezTo>
                  <a:close/>
                </a:path>
              </a:pathLst>
            </a:custGeom>
            <a:solidFill>
              <a:srgbClr val="FFC000">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gr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sp>
        <p:nvSpPr>
          <p:cNvPr id="3" name="Callout: Bent Line 2">
            <a:extLst>
              <a:ext uri="{FF2B5EF4-FFF2-40B4-BE49-F238E27FC236}">
                <a16:creationId xmlns:a16="http://schemas.microsoft.com/office/drawing/2014/main" id="{EE6F608E-D63C-1D87-E9C7-0360BE4F6B56}"/>
              </a:ext>
            </a:extLst>
          </p:cNvPr>
          <p:cNvSpPr/>
          <p:nvPr/>
        </p:nvSpPr>
        <p:spPr>
          <a:xfrm>
            <a:off x="8702401" y="3835613"/>
            <a:ext cx="3118715" cy="1280160"/>
          </a:xfrm>
          <a:prstGeom prst="borderCallout2">
            <a:avLst>
              <a:gd name="adj1" fmla="val 51579"/>
              <a:gd name="adj2" fmla="val -754"/>
              <a:gd name="adj3" fmla="val 51884"/>
              <a:gd name="adj4" fmla="val -9319"/>
              <a:gd name="adj5" fmla="val 105788"/>
              <a:gd name="adj6" fmla="val -9296"/>
            </a:avLst>
          </a:prstGeom>
          <a:noFill/>
          <a:ln>
            <a:solidFill>
              <a:srgbClr val="7C7C7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3. Post-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Once penetration testing is concluded, it is reported along with remediation best practices. The organization retests the identified vulnerabilities to validate findings. Testers then clean the environment by removing the added accounts and tool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cxnSp>
        <p:nvCxnSpPr>
          <p:cNvPr id="8" name="Straight Connector 7">
            <a:extLst>
              <a:ext uri="{FF2B5EF4-FFF2-40B4-BE49-F238E27FC236}">
                <a16:creationId xmlns:a16="http://schemas.microsoft.com/office/drawing/2014/main" id="{552E4E6C-2ECB-7386-F0F8-4022EA8213F7}"/>
              </a:ext>
            </a:extLst>
          </p:cNvPr>
          <p:cNvCxnSpPr>
            <a:endCxn id="31" idx="0"/>
          </p:cNvCxnSpPr>
          <p:nvPr/>
        </p:nvCxnSpPr>
        <p:spPr>
          <a:xfrm flipH="1" flipV="1">
            <a:off x="7567601" y="5209010"/>
            <a:ext cx="855963" cy="7400"/>
          </a:xfrm>
          <a:prstGeom prst="line">
            <a:avLst/>
          </a:prstGeom>
          <a:noFill/>
          <a:ln>
            <a:solidFill>
              <a:srgbClr val="7C7C7C"/>
            </a:solidFill>
            <a:prstDash val="dash"/>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0873562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graphicFrame>
        <p:nvGraphicFramePr>
          <p:cNvPr id="13" name="Diagram 12">
            <a:extLst>
              <a:ext uri="{FF2B5EF4-FFF2-40B4-BE49-F238E27FC236}">
                <a16:creationId xmlns:a16="http://schemas.microsoft.com/office/drawing/2014/main" id="{9E826BCF-6374-AF07-6601-25A3A8DEE186}"/>
              </a:ext>
            </a:extLst>
          </p:cNvPr>
          <p:cNvGraphicFramePr/>
          <p:nvPr/>
        </p:nvGraphicFramePr>
        <p:xfrm>
          <a:off x="6241142" y="1596571"/>
          <a:ext cx="5631543" cy="464457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5" y="1881488"/>
            <a:ext cx="4709554" cy="25163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14" normalizeH="0" baseline="0" noProof="0" dirty="0">
                <a:ln>
                  <a:noFill/>
                </a:ln>
                <a:solidFill>
                  <a:srgbClr val="000000"/>
                </a:solidFill>
                <a:effectLst/>
                <a:uLnTx/>
                <a:uFillTx/>
                <a:latin typeface="Calibri"/>
                <a:ea typeface="+mn-ea"/>
                <a:cs typeface="Calibri"/>
              </a:rPr>
              <a:t>OWASP Top 10 Mobile Vulnerabilities</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Our penetration testing experts conduct vulnerability assessment and penetration testing of mobile applications keeping in view the OWASP top 10 mobile vulnerabilities. This ensures that our PT exercise delivers the maximum value to our Clients.</a:t>
            </a:r>
          </a:p>
        </p:txBody>
      </p:sp>
      <p:grpSp>
        <p:nvGrpSpPr>
          <p:cNvPr id="21" name="Group 20">
            <a:extLst>
              <a:ext uri="{FF2B5EF4-FFF2-40B4-BE49-F238E27FC236}">
                <a16:creationId xmlns:a16="http://schemas.microsoft.com/office/drawing/2014/main" id="{A9F1A26F-C593-2427-E71E-A7CF35BDB1A3}"/>
              </a:ext>
            </a:extLst>
          </p:cNvPr>
          <p:cNvGrpSpPr/>
          <p:nvPr/>
        </p:nvGrpSpPr>
        <p:grpSpPr>
          <a:xfrm>
            <a:off x="838199" y="4526393"/>
            <a:ext cx="4284115" cy="1395435"/>
            <a:chOff x="838199" y="4526394"/>
            <a:chExt cx="3482793" cy="1134426"/>
          </a:xfrm>
        </p:grpSpPr>
        <p:pic>
          <p:nvPicPr>
            <p:cNvPr id="18" name="Picture 2" descr="http://static.giantbomb.com/uploads/original/15/157771/2312719-a6.jpg">
              <a:extLst>
                <a:ext uri="{FF2B5EF4-FFF2-40B4-BE49-F238E27FC236}">
                  <a16:creationId xmlns:a16="http://schemas.microsoft.com/office/drawing/2014/main" id="{EB880431-27D4-A00E-4F3B-0A6A766430E8}"/>
                </a:ext>
              </a:extLst>
            </p:cNvPr>
            <p:cNvPicPr>
              <a:picLocks noChangeAspect="1" noChangeArrowheads="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34944" y="4534815"/>
              <a:ext cx="1086048" cy="962729"/>
            </a:xfrm>
            <a:prstGeom prst="rect">
              <a:avLst/>
            </a:prstGeom>
            <a:noFill/>
            <a:effectLst>
              <a:reflection stA="36000" endPos="7000" dir="5400000" sy="-100000" algn="bl" rotWithShape="0"/>
            </a:effectLst>
            <a:extLst>
              <a:ext uri="{909E8E84-426E-40DD-AFC4-6F175D3DCCD1}">
                <a14:hiddenFill xmlns:a14="http://schemas.microsoft.com/office/drawing/2010/main">
                  <a:solidFill>
                    <a:srgbClr val="FFFFFF"/>
                  </a:solidFill>
                </a14:hiddenFill>
              </a:ext>
            </a:extLst>
          </p:spPr>
        </p:pic>
        <p:pic>
          <p:nvPicPr>
            <p:cNvPr id="19" name="Picture 4" descr="http://www.chariotgroup.com/blog/wp-content/uploads/2012/04/ios-logo.jpg">
              <a:extLst>
                <a:ext uri="{FF2B5EF4-FFF2-40B4-BE49-F238E27FC236}">
                  <a16:creationId xmlns:a16="http://schemas.microsoft.com/office/drawing/2014/main" id="{427DFF3C-02B7-4412-9C97-3F1E076996A0}"/>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1" b="-1820"/>
            <a:stretch/>
          </p:blipFill>
          <p:spPr bwMode="auto">
            <a:xfrm>
              <a:off x="2077533" y="4526394"/>
              <a:ext cx="1114159" cy="113442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0" name="Picture 8" descr="http://asia.cnet.com/i/r/2008/crave/hh/63002818/windows_mobile_logo_3_200.jpg">
              <a:extLst>
                <a:ext uri="{FF2B5EF4-FFF2-40B4-BE49-F238E27FC236}">
                  <a16:creationId xmlns:a16="http://schemas.microsoft.com/office/drawing/2014/main" id="{A0F86E23-D7FC-841D-9C76-8EE036747810}"/>
                </a:ext>
              </a:extLst>
            </p:cNvPr>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8199" y="4634435"/>
              <a:ext cx="1224459" cy="918344"/>
            </a:xfrm>
            <a:prstGeom prst="rect">
              <a:avLst/>
            </a:prstGeom>
            <a:noFill/>
            <a:effectLst>
              <a:reflection stA="36000" endPos="7000" dir="5400000" sy="-100000" algn="bl" rotWithShape="0"/>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2320572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2000" cy="1496223"/>
          </a:xfrm>
        </p:spPr>
        <p:txBody>
          <a:bodyPr/>
          <a:lstStyle/>
          <a:p>
            <a:r>
              <a:rPr lang="en-US" dirty="0"/>
              <a:t>VAPT - DELIVERY METHODOLOGY</a:t>
            </a:r>
          </a:p>
        </p:txBody>
      </p:sp>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4" y="1881488"/>
            <a:ext cx="6338405" cy="4629394"/>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400" b="1" i="0" u="none" strike="noStrike" kern="1200" cap="none" spc="14" normalizeH="0" baseline="0" noProof="0">
                <a:ln>
                  <a:noFill/>
                </a:ln>
                <a:solidFill>
                  <a:srgbClr val="000000"/>
                </a:solidFill>
                <a:effectLst/>
                <a:uLnTx/>
                <a:uFillTx/>
                <a:latin typeface="Calibri"/>
                <a:ea typeface="+mn-ea"/>
                <a:cs typeface="Calibri"/>
              </a:rPr>
              <a:t>OWASP (Web Application Penetration Testing)</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n the initial stage, an understanding of the architecture &amp; underlying framework along with technologies used by web application will be developed. It includes web servers, databases, web application firewalls, load balancers and so on. </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The Second stage will be the assessment of critical functions which includes working of application, supporting business functions and implementation of authentication, authorization and access control mechanisms. </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After the assessment, the web application and its supporting infrastructure will be tested against publicly available exploits. Intrusive and non-intrusive exploits will be used to simulate an actual hacker attack on the particular web application and its infrastructure.</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n the last stage, all the information &amp; evidences gathered during the exercise will be </a:t>
            </a:r>
            <a:r>
              <a:rPr kumimoji="0" lang="en-GB" sz="1800" b="0" i="0" u="none" strike="noStrike" kern="1200" cap="none" spc="14" normalizeH="0" baseline="0" noProof="0">
                <a:ln>
                  <a:noFill/>
                </a:ln>
                <a:solidFill>
                  <a:srgbClr val="000000"/>
                </a:solidFill>
                <a:effectLst/>
                <a:uLnTx/>
                <a:uFillTx/>
                <a:latin typeface="Calibri"/>
                <a:ea typeface="+mn-ea"/>
                <a:cs typeface="Calibri"/>
              </a:rPr>
              <a:t>analysed</a:t>
            </a:r>
            <a:r>
              <a:rPr kumimoji="0" lang="en-US" sz="1800" b="0" i="0" u="none" strike="noStrike" kern="1200" cap="none" spc="14" normalizeH="0" baseline="0" noProof="0">
                <a:ln>
                  <a:noFill/>
                </a:ln>
                <a:solidFill>
                  <a:srgbClr val="000000"/>
                </a:solidFill>
                <a:effectLst/>
                <a:uLnTx/>
                <a:uFillTx/>
                <a:latin typeface="Calibri"/>
                <a:ea typeface="+mn-ea"/>
                <a:cs typeface="Calibri"/>
              </a:rPr>
              <a:t>. A report will be formulated during this phase which shall include risk rating, tools used, detailed information regarding the weakness and the recommendations to mitigate the identified risks associated with the weaknesses.</a:t>
            </a:r>
          </a:p>
        </p:txBody>
      </p:sp>
      <p:pic>
        <p:nvPicPr>
          <p:cNvPr id="3" name="Picture 2">
            <a:extLst>
              <a:ext uri="{FF2B5EF4-FFF2-40B4-BE49-F238E27FC236}">
                <a16:creationId xmlns:a16="http://schemas.microsoft.com/office/drawing/2014/main" id="{B4DFA3C8-8C14-B69B-6A47-9DCB1EEE29B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7400628" y="1968655"/>
            <a:ext cx="3953173" cy="3953173"/>
          </a:xfrm>
          <a:prstGeom prst="rect">
            <a:avLst/>
          </a:prstGeom>
        </p:spPr>
      </p:pic>
    </p:spTree>
    <p:extLst>
      <p:ext uri="{BB962C8B-B14F-4D97-AF65-F5344CB8AC3E}">
        <p14:creationId xmlns:p14="http://schemas.microsoft.com/office/powerpoint/2010/main" val="6491827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4" y="1881487"/>
            <a:ext cx="3029147" cy="23131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 Assessment Phase</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Some of the tests that our consultants conduct to assess the security controls of your web applications:</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p:txBody>
      </p:sp>
      <p:grpSp>
        <p:nvGrpSpPr>
          <p:cNvPr id="17" name="Group 16">
            <a:extLst>
              <a:ext uri="{FF2B5EF4-FFF2-40B4-BE49-F238E27FC236}">
                <a16:creationId xmlns:a16="http://schemas.microsoft.com/office/drawing/2014/main" id="{C1ACF773-AF6F-7AC2-7AE2-000CAE440B16}"/>
              </a:ext>
            </a:extLst>
          </p:cNvPr>
          <p:cNvGrpSpPr/>
          <p:nvPr/>
        </p:nvGrpSpPr>
        <p:grpSpPr>
          <a:xfrm>
            <a:off x="3773714" y="1881488"/>
            <a:ext cx="8191477" cy="4167942"/>
            <a:chOff x="535288" y="2819400"/>
            <a:chExt cx="8018208" cy="4167942"/>
          </a:xfrm>
        </p:grpSpPr>
        <p:sp>
          <p:nvSpPr>
            <p:cNvPr id="18" name="Hexagon 17">
              <a:extLst>
                <a:ext uri="{FF2B5EF4-FFF2-40B4-BE49-F238E27FC236}">
                  <a16:creationId xmlns:a16="http://schemas.microsoft.com/office/drawing/2014/main" id="{25DC0CEA-8719-E6AD-89A3-B62488CA69F9}"/>
                </a:ext>
              </a:extLst>
            </p:cNvPr>
            <p:cNvSpPr/>
            <p:nvPr/>
          </p:nvSpPr>
          <p:spPr>
            <a:xfrm>
              <a:off x="535288" y="4244102"/>
              <a:ext cx="1600200" cy="1379482"/>
            </a:xfrm>
            <a:prstGeom prst="hexagon">
              <a:avLst/>
            </a:prstGeom>
            <a:solidFill>
              <a:srgbClr val="1F497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Configuration Management Testing</a:t>
              </a:r>
            </a:p>
          </p:txBody>
        </p:sp>
        <p:sp>
          <p:nvSpPr>
            <p:cNvPr id="19" name="Hexagon 18">
              <a:extLst>
                <a:ext uri="{FF2B5EF4-FFF2-40B4-BE49-F238E27FC236}">
                  <a16:creationId xmlns:a16="http://schemas.microsoft.com/office/drawing/2014/main" id="{5C84A2AF-E679-6182-E578-CBED60CEBBC5}"/>
                </a:ext>
              </a:extLst>
            </p:cNvPr>
            <p:cNvSpPr/>
            <p:nvPr/>
          </p:nvSpPr>
          <p:spPr>
            <a:xfrm>
              <a:off x="1815940" y="4933843"/>
              <a:ext cx="1600200" cy="1379482"/>
            </a:xfrm>
            <a:prstGeom prst="hexagon">
              <a:avLst/>
            </a:prstGeom>
            <a:solidFill>
              <a:srgbClr val="F79646">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uthentication Testing</a:t>
              </a:r>
            </a:p>
          </p:txBody>
        </p:sp>
        <p:sp>
          <p:nvSpPr>
            <p:cNvPr id="20" name="Hexagon 19">
              <a:extLst>
                <a:ext uri="{FF2B5EF4-FFF2-40B4-BE49-F238E27FC236}">
                  <a16:creationId xmlns:a16="http://schemas.microsoft.com/office/drawing/2014/main" id="{5FDDFB96-6825-A4C6-27CD-C30ECC917217}"/>
                </a:ext>
              </a:extLst>
            </p:cNvPr>
            <p:cNvSpPr/>
            <p:nvPr/>
          </p:nvSpPr>
          <p:spPr>
            <a:xfrm>
              <a:off x="1815940" y="3514057"/>
              <a:ext cx="1600200" cy="1379482"/>
            </a:xfrm>
            <a:prstGeom prst="hexagon">
              <a:avLst/>
            </a:prstGeom>
            <a:solidFill>
              <a:srgbClr val="9BBB59">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Session Management Testing</a:t>
              </a:r>
            </a:p>
          </p:txBody>
        </p:sp>
        <p:sp>
          <p:nvSpPr>
            <p:cNvPr id="21" name="Hexagon 20">
              <a:extLst>
                <a:ext uri="{FF2B5EF4-FFF2-40B4-BE49-F238E27FC236}">
                  <a16:creationId xmlns:a16="http://schemas.microsoft.com/office/drawing/2014/main" id="{6773EE68-7E2C-3E7D-609D-2AD8E8BAF2CF}"/>
                </a:ext>
              </a:extLst>
            </p:cNvPr>
            <p:cNvSpPr/>
            <p:nvPr/>
          </p:nvSpPr>
          <p:spPr>
            <a:xfrm>
              <a:off x="3111340" y="4203798"/>
              <a:ext cx="1600200" cy="1379482"/>
            </a:xfrm>
            <a:prstGeom prst="hexagon">
              <a:avLst/>
            </a:prstGeom>
            <a:solidFill>
              <a:srgbClr val="C0504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uthorization Testing</a:t>
              </a:r>
            </a:p>
          </p:txBody>
        </p:sp>
        <p:sp>
          <p:nvSpPr>
            <p:cNvPr id="22" name="Hexagon 21">
              <a:extLst>
                <a:ext uri="{FF2B5EF4-FFF2-40B4-BE49-F238E27FC236}">
                  <a16:creationId xmlns:a16="http://schemas.microsoft.com/office/drawing/2014/main" id="{67993E31-AF5E-E34E-98F9-C36EC1BB8E97}"/>
                </a:ext>
              </a:extLst>
            </p:cNvPr>
            <p:cNvSpPr/>
            <p:nvPr/>
          </p:nvSpPr>
          <p:spPr>
            <a:xfrm>
              <a:off x="535288" y="2819400"/>
              <a:ext cx="1600200" cy="1379482"/>
            </a:xfrm>
            <a:prstGeom prst="hexagon">
              <a:avLst/>
            </a:prstGeom>
            <a:solidFill>
              <a:srgbClr val="C0504D">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Business Logic Testing</a:t>
              </a:r>
            </a:p>
          </p:txBody>
        </p:sp>
        <p:sp>
          <p:nvSpPr>
            <p:cNvPr id="23" name="Hexagon 22">
              <a:extLst>
                <a:ext uri="{FF2B5EF4-FFF2-40B4-BE49-F238E27FC236}">
                  <a16:creationId xmlns:a16="http://schemas.microsoft.com/office/drawing/2014/main" id="{4B6916A9-BBC1-837E-1C7D-EF49724DC8B8}"/>
                </a:ext>
              </a:extLst>
            </p:cNvPr>
            <p:cNvSpPr/>
            <p:nvPr/>
          </p:nvSpPr>
          <p:spPr>
            <a:xfrm>
              <a:off x="4391992" y="4893539"/>
              <a:ext cx="1600200" cy="1379482"/>
            </a:xfrm>
            <a:prstGeom prst="hexagon">
              <a:avLst/>
            </a:prstGeom>
            <a:solidFill>
              <a:srgbClr val="4BACC6">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Data Validation Testing</a:t>
              </a:r>
            </a:p>
          </p:txBody>
        </p:sp>
        <p:sp>
          <p:nvSpPr>
            <p:cNvPr id="24" name="Hexagon 23">
              <a:extLst>
                <a:ext uri="{FF2B5EF4-FFF2-40B4-BE49-F238E27FC236}">
                  <a16:creationId xmlns:a16="http://schemas.microsoft.com/office/drawing/2014/main" id="{211DA6DA-2F89-E341-4ED8-407D29EF5D16}"/>
                </a:ext>
              </a:extLst>
            </p:cNvPr>
            <p:cNvSpPr/>
            <p:nvPr/>
          </p:nvSpPr>
          <p:spPr>
            <a:xfrm>
              <a:off x="5672644" y="4196424"/>
              <a:ext cx="1600200" cy="1379482"/>
            </a:xfrm>
            <a:prstGeom prst="hexagon">
              <a:avLst/>
            </a:prstGeom>
            <a:solidFill>
              <a:srgbClr val="9BBB59">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DDo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If Approved)</a:t>
              </a:r>
            </a:p>
          </p:txBody>
        </p:sp>
        <p:sp>
          <p:nvSpPr>
            <p:cNvPr id="25" name="Hexagon 24">
              <a:extLst>
                <a:ext uri="{FF2B5EF4-FFF2-40B4-BE49-F238E27FC236}">
                  <a16:creationId xmlns:a16="http://schemas.microsoft.com/office/drawing/2014/main" id="{36F556B8-7947-A82E-D883-3AAB02084916}"/>
                </a:ext>
              </a:extLst>
            </p:cNvPr>
            <p:cNvSpPr/>
            <p:nvPr/>
          </p:nvSpPr>
          <p:spPr>
            <a:xfrm>
              <a:off x="5672644" y="5607860"/>
              <a:ext cx="1600200" cy="1379482"/>
            </a:xfrm>
            <a:prstGeom prst="hexagon">
              <a:avLst/>
            </a:prstGeom>
            <a:solidFill>
              <a:srgbClr val="A97D5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Web Services Testing</a:t>
              </a:r>
            </a:p>
          </p:txBody>
        </p:sp>
        <p:sp>
          <p:nvSpPr>
            <p:cNvPr id="26" name="Hexagon 25">
              <a:extLst>
                <a:ext uri="{FF2B5EF4-FFF2-40B4-BE49-F238E27FC236}">
                  <a16:creationId xmlns:a16="http://schemas.microsoft.com/office/drawing/2014/main" id="{D6EED324-96D1-46EA-49CC-199B212533D6}"/>
                </a:ext>
              </a:extLst>
            </p:cNvPr>
            <p:cNvSpPr/>
            <p:nvPr/>
          </p:nvSpPr>
          <p:spPr>
            <a:xfrm>
              <a:off x="6953296" y="4893539"/>
              <a:ext cx="1600200" cy="1379482"/>
            </a:xfrm>
            <a:prstGeom prst="hexagon">
              <a:avLst/>
            </a:prstGeom>
            <a:solidFill>
              <a:srgbClr val="C05B08"/>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jax Testing</a:t>
              </a:r>
            </a:p>
          </p:txBody>
        </p:sp>
      </p:grpSp>
    </p:spTree>
    <p:extLst>
      <p:ext uri="{BB962C8B-B14F-4D97-AF65-F5344CB8AC3E}">
        <p14:creationId xmlns:p14="http://schemas.microsoft.com/office/powerpoint/2010/main" val="36399973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normAutofit/>
          </a:bodyPr>
          <a:lstStyle/>
          <a:p>
            <a:r>
              <a:rPr lang="en-US" sz="3600" dirty="0"/>
              <a:t>PROJECT DELIVERABLES</a:t>
            </a:r>
            <a:endParaRPr lang="en-GB" sz="3600" dirty="0"/>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59706374"/>
              </p:ext>
            </p:extLst>
          </p:nvPr>
        </p:nvGraphicFramePr>
        <p:xfrm>
          <a:off x="338838" y="1740658"/>
          <a:ext cx="11514324" cy="1017532"/>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11445">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dirty="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606087">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PT Testing</a:t>
                      </a:r>
                    </a:p>
                  </a:txBody>
                  <a:tcPr anchor="ctr">
                    <a:lnT w="12700" cap="flat" cmpd="sng" algn="ctr">
                      <a:solidFill>
                        <a:schemeClr val="tx1"/>
                      </a:solidFill>
                      <a:prstDash val="solid"/>
                      <a:round/>
                      <a:headEnd type="none" w="med" len="med"/>
                      <a:tailEnd type="none" w="med" len="med"/>
                    </a:lnT>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97047763"/>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extLst>
              <p:ext uri="{D42A27DB-BD31-4B8C-83A1-F6EECF244321}">
                <p14:modId xmlns:p14="http://schemas.microsoft.com/office/powerpoint/2010/main" val="2509252086"/>
              </p:ext>
            </p:extLst>
          </p:nvPr>
        </p:nvGraphicFramePr>
        <p:xfrm>
          <a:off x="433089" y="2051986"/>
          <a:ext cx="11198931" cy="785625"/>
        </p:xfrm>
        <a:graphic>
          <a:graphicData uri="http://schemas.openxmlformats.org/drawingml/2006/table">
            <a:tbl>
              <a:tblPr firstRow="1" bandRow="1">
                <a:tableStyleId>{073A0DAA-6AF3-43AB-8588-CEC1D06C72B9}</a:tableStyleId>
              </a:tblPr>
              <a:tblGrid>
                <a:gridCol w="746595">
                  <a:extLst>
                    <a:ext uri="{9D8B030D-6E8A-4147-A177-3AD203B41FA5}">
                      <a16:colId xmlns:a16="http://schemas.microsoft.com/office/drawing/2014/main" val="1290241882"/>
                    </a:ext>
                  </a:extLst>
                </a:gridCol>
                <a:gridCol w="746595">
                  <a:extLst>
                    <a:ext uri="{9D8B030D-6E8A-4147-A177-3AD203B41FA5}">
                      <a16:colId xmlns:a16="http://schemas.microsoft.com/office/drawing/2014/main" val="283493698"/>
                    </a:ext>
                  </a:extLst>
                </a:gridCol>
                <a:gridCol w="746597">
                  <a:extLst>
                    <a:ext uri="{9D8B030D-6E8A-4147-A177-3AD203B41FA5}">
                      <a16:colId xmlns:a16="http://schemas.microsoft.com/office/drawing/2014/main" val="1668329213"/>
                    </a:ext>
                  </a:extLst>
                </a:gridCol>
                <a:gridCol w="746595">
                  <a:extLst>
                    <a:ext uri="{9D8B030D-6E8A-4147-A177-3AD203B41FA5}">
                      <a16:colId xmlns:a16="http://schemas.microsoft.com/office/drawing/2014/main" val="2224798649"/>
                    </a:ext>
                  </a:extLst>
                </a:gridCol>
                <a:gridCol w="746595">
                  <a:extLst>
                    <a:ext uri="{9D8B030D-6E8A-4147-A177-3AD203B41FA5}">
                      <a16:colId xmlns:a16="http://schemas.microsoft.com/office/drawing/2014/main" val="1802148920"/>
                    </a:ext>
                  </a:extLst>
                </a:gridCol>
                <a:gridCol w="746595">
                  <a:extLst>
                    <a:ext uri="{9D8B030D-6E8A-4147-A177-3AD203B41FA5}">
                      <a16:colId xmlns:a16="http://schemas.microsoft.com/office/drawing/2014/main" val="2364839195"/>
                    </a:ext>
                  </a:extLst>
                </a:gridCol>
                <a:gridCol w="746595">
                  <a:extLst>
                    <a:ext uri="{9D8B030D-6E8A-4147-A177-3AD203B41FA5}">
                      <a16:colId xmlns:a16="http://schemas.microsoft.com/office/drawing/2014/main" val="489962519"/>
                    </a:ext>
                  </a:extLst>
                </a:gridCol>
                <a:gridCol w="746597">
                  <a:extLst>
                    <a:ext uri="{9D8B030D-6E8A-4147-A177-3AD203B41FA5}">
                      <a16:colId xmlns:a16="http://schemas.microsoft.com/office/drawing/2014/main" val="952683092"/>
                    </a:ext>
                  </a:extLst>
                </a:gridCol>
                <a:gridCol w="746595">
                  <a:extLst>
                    <a:ext uri="{9D8B030D-6E8A-4147-A177-3AD203B41FA5}">
                      <a16:colId xmlns:a16="http://schemas.microsoft.com/office/drawing/2014/main" val="1423511475"/>
                    </a:ext>
                  </a:extLst>
                </a:gridCol>
                <a:gridCol w="746595">
                  <a:extLst>
                    <a:ext uri="{9D8B030D-6E8A-4147-A177-3AD203B41FA5}">
                      <a16:colId xmlns:a16="http://schemas.microsoft.com/office/drawing/2014/main" val="2008152649"/>
                    </a:ext>
                  </a:extLst>
                </a:gridCol>
                <a:gridCol w="746595">
                  <a:extLst>
                    <a:ext uri="{9D8B030D-6E8A-4147-A177-3AD203B41FA5}">
                      <a16:colId xmlns:a16="http://schemas.microsoft.com/office/drawing/2014/main" val="4261444740"/>
                    </a:ext>
                  </a:extLst>
                </a:gridCol>
                <a:gridCol w="746595">
                  <a:extLst>
                    <a:ext uri="{9D8B030D-6E8A-4147-A177-3AD203B41FA5}">
                      <a16:colId xmlns:a16="http://schemas.microsoft.com/office/drawing/2014/main" val="172221575"/>
                    </a:ext>
                  </a:extLst>
                </a:gridCol>
                <a:gridCol w="746597">
                  <a:extLst>
                    <a:ext uri="{9D8B030D-6E8A-4147-A177-3AD203B41FA5}">
                      <a16:colId xmlns:a16="http://schemas.microsoft.com/office/drawing/2014/main" val="1619546975"/>
                    </a:ext>
                  </a:extLst>
                </a:gridCol>
                <a:gridCol w="746595">
                  <a:extLst>
                    <a:ext uri="{9D8B030D-6E8A-4147-A177-3AD203B41FA5}">
                      <a16:colId xmlns:a16="http://schemas.microsoft.com/office/drawing/2014/main" val="2906561931"/>
                    </a:ext>
                  </a:extLst>
                </a:gridCol>
                <a:gridCol w="746595">
                  <a:extLst>
                    <a:ext uri="{9D8B030D-6E8A-4147-A177-3AD203B41FA5}">
                      <a16:colId xmlns:a16="http://schemas.microsoft.com/office/drawing/2014/main" val="654522535"/>
                    </a:ext>
                  </a:extLst>
                </a:gridCol>
              </a:tblGrid>
              <a:tr h="310410">
                <a:tc gridSpan="15">
                  <a:txBody>
                    <a:bodyPr/>
                    <a:lstStyle/>
                    <a:p>
                      <a:pPr algn="ctr"/>
                      <a:r>
                        <a:rPr lang="en-US" sz="1600" dirty="0">
                          <a:solidFill>
                            <a:schemeClr val="bg1"/>
                          </a:solidFill>
                          <a:latin typeface="Calibri" panose="020F0502020204030204" pitchFamily="34" charset="0"/>
                          <a:cs typeface="Calibri" panose="020F0502020204030204" pitchFamily="34" charset="0"/>
                        </a:rPr>
                        <a:t>Weekly Breakdown of High-Level Project Phases</a:t>
                      </a:r>
                      <a:endParaRPr lang="en-GB" sz="1600" dirty="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212652788"/>
                  </a:ext>
                </a:extLst>
              </a:tr>
              <a:tr h="310410">
                <a:tc gridSpan="5">
                  <a:txBody>
                    <a:bodyPr/>
                    <a:lstStyle/>
                    <a:p>
                      <a:pPr algn="ctr"/>
                      <a:r>
                        <a:rPr lang="en-US" sz="1400" dirty="0">
                          <a:latin typeface="Calibri" panose="020F0502020204030204" pitchFamily="34" charset="0"/>
                          <a:cs typeface="Calibri" panose="020F0502020204030204" pitchFamily="34" charset="0"/>
                        </a:rPr>
                        <a:t>W1</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dirty="0">
                          <a:latin typeface="Calibri" panose="020F0502020204030204" pitchFamily="34" charset="0"/>
                          <a:cs typeface="Calibri" panose="020F0502020204030204" pitchFamily="34" charset="0"/>
                        </a:rPr>
                        <a:t>W2</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dirty="0">
                          <a:latin typeface="Calibri" panose="020F0502020204030204" pitchFamily="34" charset="0"/>
                          <a:cs typeface="Calibri" panose="020F0502020204030204" pitchFamily="34" charset="0"/>
                        </a:rPr>
                        <a:t>W3</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738881864"/>
                  </a:ext>
                </a:extLst>
              </a:tr>
              <a:tr h="139935">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Calibri"/>
                <a:cs typeface="Calibri"/>
              </a:rPr>
              <a:t>Estimated duration: 3 Calendar Weeks </a:t>
            </a:r>
            <a:r>
              <a:rPr kumimoji="0" lang="en-US" sz="1200" b="0" i="0" u="none" strike="noStrike" kern="1200" cap="none" spc="0" normalizeH="0" baseline="0" noProof="0" dirty="0">
                <a:ln>
                  <a:noFill/>
                </a:ln>
                <a:solidFill>
                  <a:prstClr val="black"/>
                </a:solidFill>
                <a:effectLst/>
                <a:uLnTx/>
                <a:uFillTx/>
                <a:latin typeface="Calibri"/>
                <a:ea typeface="Calibri"/>
                <a:cs typeface="Calibri"/>
              </a:rPr>
              <a:t>(May vary depending upon the Client’s response)</a:t>
            </a:r>
            <a:endParaRPr kumimoji="0" lang="en-GB" sz="1600" b="0" i="0" u="none" strike="noStrike" kern="1200" cap="none" spc="0" normalizeH="0" baseline="0" noProof="0" dirty="0">
              <a:ln>
                <a:noFill/>
              </a:ln>
              <a:solidFill>
                <a:prstClr val="black"/>
              </a:solidFill>
              <a:effectLst/>
              <a:uLnTx/>
              <a:uFillTx/>
              <a:latin typeface="Calibri"/>
              <a:ea typeface="Calibri"/>
              <a:cs typeface="Calibri"/>
            </a:endParaRPr>
          </a:p>
        </p:txBody>
      </p:sp>
      <p:sp>
        <p:nvSpPr>
          <p:cNvPr id="85" name="TextBox 84">
            <a:extLst>
              <a:ext uri="{FF2B5EF4-FFF2-40B4-BE49-F238E27FC236}">
                <a16:creationId xmlns:a16="http://schemas.microsoft.com/office/drawing/2014/main" id="{26C6672A-C999-8098-E399-2FD58A904E61}"/>
              </a:ext>
            </a:extLst>
          </p:cNvPr>
          <p:cNvSpPr txBox="1"/>
          <p:nvPr/>
        </p:nvSpPr>
        <p:spPr>
          <a:xfrm>
            <a:off x="512090" y="5706177"/>
            <a:ext cx="1393738" cy="2308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mn-ea"/>
                <a:cs typeface="+mn-cs"/>
              </a:rPr>
              <a:t>PT Team</a:t>
            </a:r>
            <a:endParaRPr kumimoji="0" lang="en-GB"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86" name="Progress">
            <a:extLst>
              <a:ext uri="{FF2B5EF4-FFF2-40B4-BE49-F238E27FC236}">
                <a16:creationId xmlns:a16="http://schemas.microsoft.com/office/drawing/2014/main" id="{7D79290A-3227-26D2-B943-65AAEA6DEA0F}"/>
              </a:ext>
            </a:extLst>
          </p:cNvPr>
          <p:cNvSpPr/>
          <p:nvPr/>
        </p:nvSpPr>
        <p:spPr>
          <a:xfrm>
            <a:off x="357773" y="5778081"/>
            <a:ext cx="182880" cy="91440"/>
          </a:xfrm>
          <a:prstGeom prst="roundRect">
            <a:avLst>
              <a:gd name="adj" fmla="val 0"/>
            </a:avLst>
          </a:prstGeom>
          <a:solidFill>
            <a:srgbClr val="00803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dirty="0">
              <a:ln>
                <a:noFill/>
              </a:ln>
              <a:solidFill>
                <a:prstClr val="white"/>
              </a:solidFill>
              <a:effectLst/>
              <a:uLnTx/>
              <a:uFillTx/>
              <a:latin typeface="Calibri"/>
              <a:ea typeface="+mn-ea"/>
              <a:cs typeface="+mn-cs"/>
            </a:endParaRPr>
          </a:p>
        </p:txBody>
      </p:sp>
      <p:sp>
        <p:nvSpPr>
          <p:cNvPr id="27" name="Rectangle 26">
            <a:extLst>
              <a:ext uri="{FF2B5EF4-FFF2-40B4-BE49-F238E27FC236}">
                <a16:creationId xmlns:a16="http://schemas.microsoft.com/office/drawing/2014/main" id="{581658FA-374A-49FE-41DA-F8381B9C6E37}"/>
              </a:ext>
            </a:extLst>
          </p:cNvPr>
          <p:cNvSpPr/>
          <p:nvPr/>
        </p:nvSpPr>
        <p:spPr>
          <a:xfrm>
            <a:off x="433090" y="3003112"/>
            <a:ext cx="7488166" cy="785625"/>
          </a:xfrm>
          <a:prstGeom prst="rect">
            <a:avLst/>
          </a:prstGeom>
          <a:solidFill>
            <a:srgbClr val="00803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a:ea typeface="+mn-ea"/>
                <a:cs typeface="+mn-cs"/>
              </a:rPr>
              <a:t>PT</a:t>
            </a:r>
            <a:endParaRPr kumimoji="0" lang="en-GB" sz="1400" b="1" i="0" u="none" strike="noStrike" kern="1200" cap="none" spc="0" normalizeH="0" baseline="0" noProof="0" dirty="0">
              <a:ln>
                <a:noFill/>
              </a:ln>
              <a:solidFill>
                <a:prstClr val="white"/>
              </a:solidFill>
              <a:effectLst/>
              <a:uLnTx/>
              <a:uFillTx/>
              <a:latin typeface="Calibri"/>
              <a:ea typeface="Calibri"/>
              <a:cs typeface="Calibri"/>
            </a:endParaRPr>
          </a:p>
        </p:txBody>
      </p:sp>
      <p:sp>
        <p:nvSpPr>
          <p:cNvPr id="4" name="Rectangle 3">
            <a:extLst>
              <a:ext uri="{FF2B5EF4-FFF2-40B4-BE49-F238E27FC236}">
                <a16:creationId xmlns:a16="http://schemas.microsoft.com/office/drawing/2014/main" id="{EB6A93C3-CAD2-2D29-82C8-9AFDA6D58608}"/>
              </a:ext>
            </a:extLst>
          </p:cNvPr>
          <p:cNvSpPr/>
          <p:nvPr/>
        </p:nvSpPr>
        <p:spPr>
          <a:xfrm>
            <a:off x="7921256" y="3002005"/>
            <a:ext cx="3710764" cy="786732"/>
          </a:xfrm>
          <a:prstGeom prst="rect">
            <a:avLst/>
          </a:prstGeom>
          <a:solidFill>
            <a:srgbClr val="0070C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a:ea typeface="Calibri"/>
                <a:cs typeface="Calibri"/>
              </a:rPr>
              <a:t>PT Reporting</a:t>
            </a:r>
          </a:p>
        </p:txBody>
      </p:sp>
      <p:sp>
        <p:nvSpPr>
          <p:cNvPr id="6" name="Progress">
            <a:extLst>
              <a:ext uri="{FF2B5EF4-FFF2-40B4-BE49-F238E27FC236}">
                <a16:creationId xmlns:a16="http://schemas.microsoft.com/office/drawing/2014/main" id="{7A733F89-E9D4-9B2F-3391-E09FD864622F}"/>
              </a:ext>
            </a:extLst>
          </p:cNvPr>
          <p:cNvSpPr/>
          <p:nvPr/>
        </p:nvSpPr>
        <p:spPr>
          <a:xfrm>
            <a:off x="357772" y="5590189"/>
            <a:ext cx="182880" cy="91440"/>
          </a:xfrm>
          <a:prstGeom prst="roundRect">
            <a:avLst>
              <a:gd name="adj" fmla="val 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extBox 7">
            <a:extLst>
              <a:ext uri="{FF2B5EF4-FFF2-40B4-BE49-F238E27FC236}">
                <a16:creationId xmlns:a16="http://schemas.microsoft.com/office/drawing/2014/main" id="{E5ACD621-8FC7-F1A8-FB13-43059DED1553}"/>
              </a:ext>
            </a:extLst>
          </p:cNvPr>
          <p:cNvSpPr txBox="1"/>
          <p:nvPr/>
        </p:nvSpPr>
        <p:spPr>
          <a:xfrm>
            <a:off x="512090" y="5518285"/>
            <a:ext cx="1393738" cy="2308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Calibri"/>
                <a:cs typeface="Calibri"/>
              </a:rPr>
              <a:t>Reporting</a:t>
            </a:r>
          </a:p>
        </p:txBody>
      </p:sp>
      <p:sp>
        <p:nvSpPr>
          <p:cNvPr id="87" name="Rectangle 86"/>
          <p:cNvSpPr/>
          <p:nvPr/>
        </p:nvSpPr>
        <p:spPr>
          <a:xfrm>
            <a:off x="414000" y="2951999"/>
            <a:ext cx="7488000" cy="720001"/>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1</a:t>
            </a:r>
          </a:p>
        </p:txBody>
      </p:sp>
      <p:sp>
        <p:nvSpPr>
          <p:cNvPr id="88" name="Rectangle 87"/>
          <p:cNvSpPr/>
          <p:nvPr/>
        </p:nvSpPr>
        <p:spPr>
          <a:xfrm>
            <a:off x="7902000" y="2951999"/>
            <a:ext cx="14976000" cy="720001"/>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2</a:t>
            </a:r>
          </a:p>
        </p:txBody>
      </p:sp>
      <p:sp>
        <p:nvSpPr>
          <p:cNvPr id="89" name="Rectangle 88"/>
          <p:cNvSpPr/>
          <p:nvPr/>
        </p:nvSpPr>
        <p:spPr>
          <a:xfrm>
            <a:off x="22878000" y="2951999"/>
            <a:ext cx="22464000" cy="720001"/>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3</a:t>
            </a:r>
          </a:p>
        </p:txBody>
      </p:sp>
    </p:spTree>
    <p:extLst>
      <p:ext uri="{BB962C8B-B14F-4D97-AF65-F5344CB8AC3E}">
        <p14:creationId xmlns:p14="http://schemas.microsoft.com/office/powerpoint/2010/main" val="4081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557822" y="1994633"/>
            <a:ext cx="6736585" cy="2545569"/>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 is a vendor-neutral professional consultancy and audit firm with specialized focus on information security and data protection. </a:t>
            </a:r>
          </a:p>
          <a:p>
            <a:pPr marL="0" marR="0" lvl="0" indent="0" algn="just" defTabSz="857250" rtl="0" eaLnBrk="1" fontAlgn="auto" latinLnBrk="0" hangingPunct="1">
              <a:lnSpc>
                <a:spcPts val="2530"/>
              </a:lnSpc>
              <a:spcBef>
                <a:spcPts val="0"/>
              </a:spcBef>
              <a:spcAft>
                <a:spcPts val="0"/>
              </a:spcAft>
              <a:buClrTx/>
              <a:buSzTx/>
              <a:buFontTx/>
              <a:buNone/>
              <a:tabLst/>
              <a:defRPr/>
            </a:pPr>
            <a:endPar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e are PCI SSC approved Qualified Security  Assessor (QSA) for PCI DSS. Our consultants collectively possess more than a-century-long experience working with large enterprises and governments . We deliver coherence for your governance, risk management and compliance need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2"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kumimoji="0" lang="en-GB" sz="180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Client’s</a:t>
            </a:r>
            <a:r>
              <a:rPr kumimoji="0" lang="en-GB" sz="18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 </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1C1C1C"/>
        </a:solidFill>
        <a:effectLst/>
      </p:bgPr>
    </p:bg>
    <p:spTree>
      <p:nvGrpSpPr>
        <p:cNvPr id="1" name="">
          <a:extLst>
            <a:ext uri="{FF2B5EF4-FFF2-40B4-BE49-F238E27FC236}">
              <a16:creationId xmlns:a16="http://schemas.microsoft.com/office/drawing/2014/main" id="{63B465CE-FE0E-BF19-3422-7788775DDEFF}"/>
            </a:ext>
          </a:extLst>
        </p:cNvPr>
        <p:cNvGrpSpPr/>
        <p:nvPr/>
      </p:nvGrpSpPr>
      <p:grpSpPr>
        <a:xfrm>
          <a:off x="0" y="0"/>
          <a:ext cx="0" cy="0"/>
          <a:chOff x="0" y="0"/>
          <a:chExt cx="0" cy="0"/>
        </a:xfrm>
      </p:grpSpPr>
      <p:grpSp>
        <p:nvGrpSpPr>
          <p:cNvPr id="4" name="Group 4">
            <a:extLst>
              <a:ext uri="{FF2B5EF4-FFF2-40B4-BE49-F238E27FC236}">
                <a16:creationId xmlns:a16="http://schemas.microsoft.com/office/drawing/2014/main" id="{B8190883-6B59-E794-E823-50F0E0B87D8D}"/>
              </a:ext>
            </a:extLst>
          </p:cNvPr>
          <p:cNvGrpSpPr/>
          <p:nvPr/>
        </p:nvGrpSpPr>
        <p:grpSpPr>
          <a:xfrm>
            <a:off x="643944" y="2944715"/>
            <a:ext cx="10818253" cy="2661569"/>
            <a:chOff x="0" y="85725"/>
            <a:chExt cx="11531402" cy="3785342"/>
          </a:xfrm>
        </p:grpSpPr>
        <p:sp>
          <p:nvSpPr>
            <p:cNvPr id="5" name="TextBox 5">
              <a:extLst>
                <a:ext uri="{FF2B5EF4-FFF2-40B4-BE49-F238E27FC236}">
                  <a16:creationId xmlns:a16="http://schemas.microsoft.com/office/drawing/2014/main" id="{AA6CD44D-84E7-60CA-C057-726ED321976D}"/>
                </a:ext>
              </a:extLst>
            </p:cNvPr>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a:extLst>
                <a:ext uri="{FF2B5EF4-FFF2-40B4-BE49-F238E27FC236}">
                  <a16:creationId xmlns:a16="http://schemas.microsoft.com/office/drawing/2014/main" id="{F203B4F2-2151-C411-99AA-15016E45044A}"/>
                </a:ext>
              </a:extLst>
            </p:cNvPr>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a:extLst>
                <a:ext uri="{FF2B5EF4-FFF2-40B4-BE49-F238E27FC236}">
                  <a16:creationId xmlns:a16="http://schemas.microsoft.com/office/drawing/2014/main" id="{FB7E339F-E233-0BF5-78EC-F58FDDF74F14}"/>
                </a:ext>
              </a:extLst>
            </p:cNvPr>
            <p:cNvSpPr txBox="1"/>
            <p:nvPr/>
          </p:nvSpPr>
          <p:spPr>
            <a:xfrm>
              <a:off x="0" y="2503171"/>
              <a:ext cx="11528498" cy="1367896"/>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dirty="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s and spanning from Asia, Middle East to Europe.</a:t>
              </a:r>
            </a:p>
          </p:txBody>
        </p:sp>
        <p:sp>
          <p:nvSpPr>
            <p:cNvPr id="8" name="AutoShape 8">
              <a:extLst>
                <a:ext uri="{FF2B5EF4-FFF2-40B4-BE49-F238E27FC236}">
                  <a16:creationId xmlns:a16="http://schemas.microsoft.com/office/drawing/2014/main" id="{FCFC6D2C-C3C4-30AB-E3E4-EFC7BBF6717D}"/>
                </a:ext>
              </a:extLst>
            </p:cNvPr>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DEA99B1C-7476-898B-9619-4576562B4BBC}"/>
              </a:ext>
            </a:extLst>
          </p:cNvPr>
          <p:cNvPicPr>
            <a:picLocks noChangeAspect="1"/>
          </p:cNvPicPr>
          <p:nvPr/>
        </p:nvPicPr>
        <p:blipFill rotWithShape="1">
          <a:blip r:embed="rId4"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69B617B1-5A7F-0158-44F8-743391E449D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2" name="Freeform 11">
            <a:extLst>
              <a:ext uri="{FF2B5EF4-FFF2-40B4-BE49-F238E27FC236}">
                <a16:creationId xmlns:a16="http://schemas.microsoft.com/office/drawing/2014/main" id="{E41A8804-95BA-9C37-48DC-1E022FDC999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99542599"/>
      </p:ext>
    </p:extLst>
  </p:cSld>
  <p:clrMapOvr>
    <a:overrideClrMapping bg1="lt1" tx1="dk1" bg2="lt2" tx2="dk2" accent1="accent1" accent2="accent2" accent3="accent3" accent4="accent4" accent5="accent5" accent6="accent6" hlink="hlink" folHlink="folHlink"/>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marL="0" marR="0" lvl="0" indent="0" algn="l" defTabSz="857250" rtl="0" eaLnBrk="1" fontAlgn="auto" latinLnBrk="0" hangingPunct="1">
              <a:lnSpc>
                <a:spcPts val="1575"/>
              </a:lnSpc>
              <a:spcBef>
                <a:spcPts val="0"/>
              </a:spcBef>
              <a:spcAft>
                <a:spcPts val="0"/>
              </a:spcAft>
              <a:buClrTx/>
              <a:buSzTx/>
              <a:buFontTx/>
              <a:buNone/>
              <a:tabLst/>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the following active certifications:</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3" cstate="print">
            <a:duotone>
              <a:schemeClr val="accent2">
                <a:shade val="45000"/>
                <a:satMod val="135000"/>
              </a:schemeClr>
              <a:prstClr val="white"/>
            </a:duotone>
            <a:extLst>
              <a:ext uri="{BEBA8EAE-BF5A-486C-A8C5-ECC9F3942E4B}">
                <a14:imgProps xmlns:a14="http://schemas.microsoft.com/office/drawing/2010/main">
                  <a14:imgLayer r:embed="rId4">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5"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486346674"/>
              </p:ext>
            </p:extLst>
          </p:nvPr>
        </p:nvGraphicFramePr>
        <p:xfrm>
          <a:off x="3875701" y="637335"/>
          <a:ext cx="7546475" cy="2996574"/>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50217">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290277">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290277">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290277">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290277">
                <a:tc gridSpan="2">
                  <a:txBody>
                    <a:bodyPr/>
                    <a:lstStyle/>
                    <a:p>
                      <a:pPr marL="0" algn="r" defTabSz="914400" rtl="0" eaLnBrk="1" latinLnBrk="0" hangingPunct="1"/>
                      <a:r>
                        <a:rPr lang="en-US" sz="1600" b="1" kern="1200" dirty="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290277">
                <a:tc gridSpan="2">
                  <a:txBody>
                    <a:bodyPr/>
                    <a:lstStyle/>
                    <a:p>
                      <a:pPr marL="0" algn="r" defTabSz="914400" rtl="0" eaLnBrk="1" latinLnBrk="0" hangingPunct="1"/>
                      <a:endParaRPr lang="en-US" sz="1600" b="1" kern="1200" dirty="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dirty="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290277">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dirty="0"/>
              <a:t>Our Mission</a:t>
            </a:r>
          </a:p>
          <a:p>
            <a:pPr algn="just"/>
            <a:r>
              <a:rPr lang="en-US" dirty="0"/>
              <a:t>We aim to achieve the highest quality in delivering our consultancy services to strengthen our Client’s governance, risk posture and information security resilience.</a:t>
            </a:r>
            <a:endParaRPr lang="en-US" dirty="0">
              <a:ea typeface="Calibri"/>
              <a:cs typeface="Calibri"/>
            </a:endParaRPr>
          </a:p>
          <a:p>
            <a:endParaRPr lang="en-GB" dirty="0"/>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dirty="0"/>
              <a:t>Our Vision</a:t>
            </a:r>
          </a:p>
          <a:p>
            <a:pPr marL="166688" indent="-166688" algn="just">
              <a:spcBef>
                <a:spcPts val="1800"/>
              </a:spcBef>
              <a:buFont typeface="Arial" panose="020B0604020202020204" pitchFamily="34" charset="0"/>
              <a:buChar char="•"/>
            </a:pPr>
            <a:r>
              <a:rPr lang="en-US" dirty="0"/>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dirty="0"/>
              <a:t>Assisting enterprises around the world by delivering outstanding quality services. </a:t>
            </a:r>
          </a:p>
          <a:p>
            <a:pPr marL="166688" indent="-166688" algn="just">
              <a:buFont typeface="Arial" panose="020B0604020202020204" pitchFamily="34" charset="0"/>
              <a:buChar char="•"/>
            </a:pPr>
            <a:r>
              <a:rPr lang="en-US" dirty="0"/>
              <a:t>Setting standards of excellence by instilling pride of ownership and commitment. </a:t>
            </a:r>
          </a:p>
          <a:p>
            <a:pPr marL="166688" indent="-166688" algn="just">
              <a:buFont typeface="Arial" panose="020B0604020202020204" pitchFamily="34" charset="0"/>
              <a:buChar char="•"/>
            </a:pPr>
            <a:r>
              <a:rPr lang="en-US" dirty="0"/>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3.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13E2485-4C74-4F0B-89B3-1A2E86845D2C}">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995C9689-970A-4C06-94B4-74BEBF5FC64B}">
  <ds:schemaRefs>
    <ds:schemaRef ds:uri="http://schemas.microsoft.com/sharepoint/v3/contenttype/forms"/>
  </ds:schemaRefs>
</ds:datastoreItem>
</file>

<file path=customXml/itemProps3.xml><?xml version="1.0" encoding="utf-8"?>
<ds:datastoreItem xmlns:ds="http://schemas.openxmlformats.org/officeDocument/2006/customXml" ds:itemID="{0EDD6186-A4D6-4081-9C9E-C854EEC0BC2E}">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53</TotalTime>
  <Words>3084</Words>
  <Application>Microsoft Office PowerPoint</Application>
  <PresentationFormat>Widescreen</PresentationFormat>
  <Paragraphs>412</Paragraphs>
  <Slides>49</Slides>
  <Notes>25</Notes>
  <HiddenSlides>0</HiddenSlides>
  <MMClips>0</MMClips>
  <ScaleCrop>false</ScaleCrop>
  <HeadingPairs>
    <vt:vector size="6" baseType="variant">
      <vt:variant>
        <vt:lpstr>Fonts Used</vt:lpstr>
      </vt:variant>
      <vt:variant>
        <vt:i4>6</vt:i4>
      </vt:variant>
      <vt:variant>
        <vt:lpstr>Theme</vt:lpstr>
      </vt:variant>
      <vt:variant>
        <vt:i4>3</vt:i4>
      </vt:variant>
      <vt:variant>
        <vt:lpstr>Slide Titles</vt:lpstr>
      </vt:variant>
      <vt:variant>
        <vt:i4>49</vt:i4>
      </vt:variant>
    </vt:vector>
  </HeadingPairs>
  <TitlesOfParts>
    <vt:vector size="58" baseType="lpstr">
      <vt:lpstr>Aptos</vt: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46</cp:revision>
  <dcterms:created xsi:type="dcterms:W3CDTF">2022-09-12T10:39:45Z</dcterms:created>
  <dcterms:modified xsi:type="dcterms:W3CDTF">2025-02-10T06:2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